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2" r:id="rId3"/>
    <p:sldId id="2147478334" r:id="rId4"/>
    <p:sldId id="257" r:id="rId5"/>
    <p:sldId id="260" r:id="rId6"/>
    <p:sldId id="261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D3B368-CE52-42CC-B5C7-750544629871}" v="4" dt="2023-06-09T07:02:02.8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tish, Nitin" userId="f2ecb18b-41e0-4ce1-8908-feb500df1510" providerId="ADAL" clId="{EED3B368-CE52-42CC-B5C7-750544629871}"/>
    <pc:docChg chg="undo custSel addSld delSld modSld sldOrd">
      <pc:chgData name="Satish, Nitin" userId="f2ecb18b-41e0-4ce1-8908-feb500df1510" providerId="ADAL" clId="{EED3B368-CE52-42CC-B5C7-750544629871}" dt="2023-06-09T07:02:18.114" v="118" actId="729"/>
      <pc:docMkLst>
        <pc:docMk/>
      </pc:docMkLst>
      <pc:sldChg chg="new">
        <pc:chgData name="Satish, Nitin" userId="f2ecb18b-41e0-4ce1-8908-feb500df1510" providerId="ADAL" clId="{EED3B368-CE52-42CC-B5C7-750544629871}" dt="2023-06-09T06:45:38.245" v="0" actId="680"/>
        <pc:sldMkLst>
          <pc:docMk/>
          <pc:sldMk cId="3824048406" sldId="256"/>
        </pc:sldMkLst>
      </pc:sldChg>
      <pc:sldChg chg="modSp add mod modShow">
        <pc:chgData name="Satish, Nitin" userId="f2ecb18b-41e0-4ce1-8908-feb500df1510" providerId="ADAL" clId="{EED3B368-CE52-42CC-B5C7-750544629871}" dt="2023-06-09T07:02:18.114" v="118" actId="729"/>
        <pc:sldMkLst>
          <pc:docMk/>
          <pc:sldMk cId="3230567150" sldId="257"/>
        </pc:sldMkLst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4" creationId="{1B8C6890-E558-A098-0A0D-0A0F43065AC1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7" creationId="{099DA179-A15A-EA56-B408-613C648ADF44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8" creationId="{9EC2A491-F50C-C5D4-4B01-FA8A1A1365BA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14" creationId="{3E874F84-F9CB-DDF9-07EF-7EBFD7443F8F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18" creationId="{3F8BBCD2-C812-0E3B-9828-3B17306C6A97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23" creationId="{2019AF6B-865B-83A2-3C40-C7106D3B4A0F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24" creationId="{D683F1DD-E571-B802-5A9B-E481569F931F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31" creationId="{0F76C3D1-8DEC-AC90-6FCE-E449D38C7F9C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32" creationId="{FC605B3A-2896-11FD-68B2-E0C7347C94C4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42" creationId="{D7ECBD80-646A-E484-E3AF-1A564B0EBC29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43" creationId="{2680C409-3C36-1CA7-8FE3-AA390D639530}"/>
          </ac:spMkLst>
        </pc:spChg>
        <pc:spChg chg="mod">
          <ac:chgData name="Satish, Nitin" userId="f2ecb18b-41e0-4ce1-8908-feb500df1510" providerId="ADAL" clId="{EED3B368-CE52-42CC-B5C7-750544629871}" dt="2023-06-09T06:46:12.770" v="4" actId="1076"/>
          <ac:spMkLst>
            <pc:docMk/>
            <pc:sldMk cId="3230567150" sldId="257"/>
            <ac:spMk id="44" creationId="{D13A4C9D-8784-16A0-B66D-6CE229EAEEFC}"/>
          </ac:spMkLst>
        </pc:sp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10" creationId="{E7B8C7D6-F6E7-794B-6540-64C124860790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12" creationId="{DDCC99EF-EB92-E3C9-7FC5-4973ABB77D20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16" creationId="{F84B0177-4C9B-23E7-E3FB-4077E507B9E3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22" creationId="{82B836F1-3C6F-DF76-E767-1C3A00D0D0DA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26" creationId="{D5FC49A0-0C63-29FA-602B-223D36F5A271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28" creationId="{C9155556-EB4A-B8E5-D4D1-31A20CCDEA43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30" creationId="{C1A7A015-9640-1288-0F3D-8C69C629556D}"/>
          </ac:cxnSpMkLst>
        </pc:cxnChg>
        <pc:cxnChg chg="mod">
          <ac:chgData name="Satish, Nitin" userId="f2ecb18b-41e0-4ce1-8908-feb500df1510" providerId="ADAL" clId="{EED3B368-CE52-42CC-B5C7-750544629871}" dt="2023-06-09T06:46:12.770" v="4" actId="1076"/>
          <ac:cxnSpMkLst>
            <pc:docMk/>
            <pc:sldMk cId="3230567150" sldId="257"/>
            <ac:cxnSpMk id="40" creationId="{A0332BC4-F90D-09A1-3390-E4395F41DCD6}"/>
          </ac:cxnSpMkLst>
        </pc:cxnChg>
      </pc:sldChg>
      <pc:sldChg chg="add mod modShow">
        <pc:chgData name="Satish, Nitin" userId="f2ecb18b-41e0-4ce1-8908-feb500df1510" providerId="ADAL" clId="{EED3B368-CE52-42CC-B5C7-750544629871}" dt="2023-06-09T07:00:55.642" v="111" actId="729"/>
        <pc:sldMkLst>
          <pc:docMk/>
          <pc:sldMk cId="2658030304" sldId="260"/>
        </pc:sldMkLst>
      </pc:sldChg>
      <pc:sldChg chg="add mod modShow">
        <pc:chgData name="Satish, Nitin" userId="f2ecb18b-41e0-4ce1-8908-feb500df1510" providerId="ADAL" clId="{EED3B368-CE52-42CC-B5C7-750544629871}" dt="2023-06-09T07:00:55.642" v="111" actId="729"/>
        <pc:sldMkLst>
          <pc:docMk/>
          <pc:sldMk cId="2008089691" sldId="261"/>
        </pc:sldMkLst>
      </pc:sldChg>
      <pc:sldChg chg="addSp delSp modSp add mod ord">
        <pc:chgData name="Satish, Nitin" userId="f2ecb18b-41e0-4ce1-8908-feb500df1510" providerId="ADAL" clId="{EED3B368-CE52-42CC-B5C7-750544629871}" dt="2023-06-09T06:59:44.932" v="110" actId="1076"/>
        <pc:sldMkLst>
          <pc:docMk/>
          <pc:sldMk cId="966971150" sldId="262"/>
        </pc:sldMkLst>
        <pc:spChg chg="mod">
          <ac:chgData name="Satish, Nitin" userId="f2ecb18b-41e0-4ce1-8908-feb500df1510" providerId="ADAL" clId="{EED3B368-CE52-42CC-B5C7-750544629871}" dt="2023-06-09T06:59:03.353" v="56" actId="20577"/>
          <ac:spMkLst>
            <pc:docMk/>
            <pc:sldMk cId="966971150" sldId="262"/>
            <ac:spMk id="4" creationId="{1B8C6890-E558-A098-0A0D-0A0F43065AC1}"/>
          </ac:spMkLst>
        </pc:spChg>
        <pc:spChg chg="add del mod">
          <ac:chgData name="Satish, Nitin" userId="f2ecb18b-41e0-4ce1-8908-feb500df1510" providerId="ADAL" clId="{EED3B368-CE52-42CC-B5C7-750544629871}" dt="2023-06-09T06:59:44.932" v="110" actId="1076"/>
          <ac:spMkLst>
            <pc:docMk/>
            <pc:sldMk cId="966971150" sldId="262"/>
            <ac:spMk id="42" creationId="{D7ECBD80-646A-E484-E3AF-1A564B0EBC29}"/>
          </ac:spMkLst>
        </pc:spChg>
        <pc:spChg chg="del mod">
          <ac:chgData name="Satish, Nitin" userId="f2ecb18b-41e0-4ce1-8908-feb500df1510" providerId="ADAL" clId="{EED3B368-CE52-42CC-B5C7-750544629871}" dt="2023-06-09T06:59:14.969" v="70"/>
          <ac:spMkLst>
            <pc:docMk/>
            <pc:sldMk cId="966971150" sldId="262"/>
            <ac:spMk id="43" creationId="{2680C409-3C36-1CA7-8FE3-AA390D639530}"/>
          </ac:spMkLst>
        </pc:spChg>
        <pc:spChg chg="mod">
          <ac:chgData name="Satish, Nitin" userId="f2ecb18b-41e0-4ce1-8908-feb500df1510" providerId="ADAL" clId="{EED3B368-CE52-42CC-B5C7-750544629871}" dt="2023-06-09T06:55:28.322" v="18" actId="14100"/>
          <ac:spMkLst>
            <pc:docMk/>
            <pc:sldMk cId="966971150" sldId="262"/>
            <ac:spMk id="44" creationId="{D13A4C9D-8784-16A0-B66D-6CE229EAEEFC}"/>
          </ac:spMkLst>
        </pc:spChg>
      </pc:sldChg>
      <pc:sldChg chg="add del">
        <pc:chgData name="Satish, Nitin" userId="f2ecb18b-41e0-4ce1-8908-feb500df1510" providerId="ADAL" clId="{EED3B368-CE52-42CC-B5C7-750544629871}" dt="2023-06-09T07:01:54.825" v="113"/>
        <pc:sldMkLst>
          <pc:docMk/>
          <pc:sldMk cId="3410130722" sldId="263"/>
        </pc:sldMkLst>
      </pc:sldChg>
      <pc:sldChg chg="add del">
        <pc:chgData name="Satish, Nitin" userId="f2ecb18b-41e0-4ce1-8908-feb500df1510" providerId="ADAL" clId="{EED3B368-CE52-42CC-B5C7-750544629871}" dt="2023-06-09T07:01:54.825" v="113"/>
        <pc:sldMkLst>
          <pc:docMk/>
          <pc:sldMk cId="2655377398" sldId="264"/>
        </pc:sldMkLst>
      </pc:sldChg>
      <pc:sldChg chg="add del">
        <pc:chgData name="Satish, Nitin" userId="f2ecb18b-41e0-4ce1-8908-feb500df1510" providerId="ADAL" clId="{EED3B368-CE52-42CC-B5C7-750544629871}" dt="2023-06-09T07:01:54.825" v="113"/>
        <pc:sldMkLst>
          <pc:docMk/>
          <pc:sldMk cId="2460977527" sldId="265"/>
        </pc:sldMkLst>
      </pc:sldChg>
      <pc:sldChg chg="delSp add ord setBg delDesignElem">
        <pc:chgData name="Satish, Nitin" userId="f2ecb18b-41e0-4ce1-8908-feb500df1510" providerId="ADAL" clId="{EED3B368-CE52-42CC-B5C7-750544629871}" dt="2023-06-09T07:02:07.661" v="117"/>
        <pc:sldMkLst>
          <pc:docMk/>
          <pc:sldMk cId="3246741156" sldId="2147478334"/>
        </pc:sldMkLst>
        <pc:spChg chg="del">
          <ac:chgData name="Satish, Nitin" userId="f2ecb18b-41e0-4ce1-8908-feb500df1510" providerId="ADAL" clId="{EED3B368-CE52-42CC-B5C7-750544629871}" dt="2023-06-09T07:02:02.808" v="115"/>
          <ac:spMkLst>
            <pc:docMk/>
            <pc:sldMk cId="3246741156" sldId="2147478334"/>
            <ac:spMk id="28" creationId="{B50AB553-2A96-4A92-96F2-93548E096954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16F285-C8D5-4056-9AAB-F0DFD146602E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145FD3E-70C1-43B8-8C33-C17C75876940}">
      <dgm:prSet/>
      <dgm:spPr/>
      <dgm:t>
        <a:bodyPr/>
        <a:lstStyle/>
        <a:p>
          <a:r>
            <a:rPr lang="en-US" dirty="0"/>
            <a:t>Task 1 -  Trigger</a:t>
          </a:r>
        </a:p>
        <a:p>
          <a:r>
            <a:rPr lang="en-US" dirty="0"/>
            <a:t>- </a:t>
          </a:r>
          <a:r>
            <a:rPr lang="en-US" dirty="0" err="1"/>
            <a:t>Sonarqube</a:t>
          </a:r>
          <a:r>
            <a:rPr lang="en-US" dirty="0"/>
            <a:t> will be triggered by the developer on local setup (in local or pipeline)</a:t>
          </a:r>
        </a:p>
      </dgm:t>
    </dgm:pt>
    <dgm:pt modelId="{31CAEADA-B424-4C6E-9FF9-CB4107C66C7F}" type="parTrans" cxnId="{F414AD0F-8B75-4D83-8040-F642247DF019}">
      <dgm:prSet/>
      <dgm:spPr/>
      <dgm:t>
        <a:bodyPr/>
        <a:lstStyle/>
        <a:p>
          <a:endParaRPr lang="en-US"/>
        </a:p>
      </dgm:t>
    </dgm:pt>
    <dgm:pt modelId="{585CA4DD-C840-4DB9-BEDE-D32D37C90685}" type="sibTrans" cxnId="{F414AD0F-8B75-4D83-8040-F642247DF019}">
      <dgm:prSet/>
      <dgm:spPr/>
      <dgm:t>
        <a:bodyPr/>
        <a:lstStyle/>
        <a:p>
          <a:endParaRPr lang="en-US"/>
        </a:p>
      </dgm:t>
    </dgm:pt>
    <dgm:pt modelId="{A900B2A6-7613-48B6-97D6-4194A3F91EE4}">
      <dgm:prSet/>
      <dgm:spPr/>
      <dgm:t>
        <a:bodyPr/>
        <a:lstStyle/>
        <a:p>
          <a:r>
            <a:rPr lang="en-US" dirty="0"/>
            <a:t>Task 2  - Trigger</a:t>
          </a:r>
        </a:p>
        <a:p>
          <a:r>
            <a:rPr lang="en-US" dirty="0"/>
            <a:t>- Since no automation is expected, this Point is out of scope now. </a:t>
          </a:r>
        </a:p>
      </dgm:t>
    </dgm:pt>
    <dgm:pt modelId="{C4DB8245-1279-483A-B34D-820177ACC481}" type="parTrans" cxnId="{905E5233-78FA-4379-974A-78F7F1457ADE}">
      <dgm:prSet/>
      <dgm:spPr/>
      <dgm:t>
        <a:bodyPr/>
        <a:lstStyle/>
        <a:p>
          <a:endParaRPr lang="en-US"/>
        </a:p>
      </dgm:t>
    </dgm:pt>
    <dgm:pt modelId="{3ADB08D4-8A91-488B-A7F0-485BED86A9DC}" type="sibTrans" cxnId="{905E5233-78FA-4379-974A-78F7F1457ADE}">
      <dgm:prSet/>
      <dgm:spPr/>
      <dgm:t>
        <a:bodyPr/>
        <a:lstStyle/>
        <a:p>
          <a:endParaRPr lang="en-US"/>
        </a:p>
      </dgm:t>
    </dgm:pt>
    <dgm:pt modelId="{5ED378B5-3A5E-4BBA-99E9-C93B7596391E}">
      <dgm:prSet/>
      <dgm:spPr/>
      <dgm:t>
        <a:bodyPr/>
        <a:lstStyle/>
        <a:p>
          <a:r>
            <a:rPr lang="en-US" dirty="0"/>
            <a:t>Task 3 - Report </a:t>
          </a:r>
        </a:p>
        <a:p>
          <a:r>
            <a:rPr lang="en-US" dirty="0"/>
            <a:t>Currently, System </a:t>
          </a:r>
          <a:r>
            <a:rPr lang="en-US" dirty="0" err="1"/>
            <a:t>Sonarquebe</a:t>
          </a:r>
          <a:r>
            <a:rPr lang="en-US" dirty="0"/>
            <a:t> will not generate the report. Developers can see the vulnerabilities in a separate window for IDE.   </a:t>
          </a:r>
        </a:p>
      </dgm:t>
    </dgm:pt>
    <dgm:pt modelId="{85E0F7C2-2055-4901-923C-B06563958F37}" type="parTrans" cxnId="{31C795B5-BCCD-49E2-ABD9-ED39735812D0}">
      <dgm:prSet/>
      <dgm:spPr/>
      <dgm:t>
        <a:bodyPr/>
        <a:lstStyle/>
        <a:p>
          <a:endParaRPr lang="en-US"/>
        </a:p>
      </dgm:t>
    </dgm:pt>
    <dgm:pt modelId="{B6F4DDCB-112B-4550-B8AB-9358AE4289B8}" type="sibTrans" cxnId="{31C795B5-BCCD-49E2-ABD9-ED39735812D0}">
      <dgm:prSet/>
      <dgm:spPr/>
      <dgm:t>
        <a:bodyPr/>
        <a:lstStyle/>
        <a:p>
          <a:endParaRPr lang="en-US"/>
        </a:p>
      </dgm:t>
    </dgm:pt>
    <dgm:pt modelId="{31194A3F-BDE6-4F4B-9771-E4AE3A431BA7}">
      <dgm:prSet/>
      <dgm:spPr/>
      <dgm:t>
        <a:bodyPr/>
        <a:lstStyle/>
        <a:p>
          <a:r>
            <a:rPr lang="en-US" dirty="0"/>
            <a:t>Task 4  - Report</a:t>
          </a:r>
        </a:p>
        <a:p>
          <a:r>
            <a:rPr lang="en-US" dirty="0"/>
            <a:t>*- </a:t>
          </a:r>
          <a:r>
            <a:rPr lang="en-US" dirty="0" err="1"/>
            <a:t>PlugIn</a:t>
          </a:r>
          <a:r>
            <a:rPr lang="en-US" dirty="0"/>
            <a:t> is required to get the generated vulnerabilities from IDE.</a:t>
          </a:r>
        </a:p>
      </dgm:t>
    </dgm:pt>
    <dgm:pt modelId="{AB82F7C1-9CA7-4631-8A25-28464B83F7AD}" type="parTrans" cxnId="{D40EC5F5-2944-43E3-816D-597759F6023C}">
      <dgm:prSet/>
      <dgm:spPr/>
      <dgm:t>
        <a:bodyPr/>
        <a:lstStyle/>
        <a:p>
          <a:endParaRPr lang="en-US"/>
        </a:p>
      </dgm:t>
    </dgm:pt>
    <dgm:pt modelId="{0980480D-0511-46AF-87CE-94BEC2D6B355}" type="sibTrans" cxnId="{D40EC5F5-2944-43E3-816D-597759F6023C}">
      <dgm:prSet/>
      <dgm:spPr/>
      <dgm:t>
        <a:bodyPr/>
        <a:lstStyle/>
        <a:p>
          <a:endParaRPr lang="en-US"/>
        </a:p>
      </dgm:t>
    </dgm:pt>
    <dgm:pt modelId="{991DB27D-474C-420B-B30A-0749533A82F7}">
      <dgm:prSet/>
      <dgm:spPr/>
      <dgm:t>
        <a:bodyPr/>
        <a:lstStyle/>
        <a:p>
          <a:r>
            <a:rPr lang="en-US" dirty="0"/>
            <a:t>Task 5 - Run</a:t>
          </a:r>
        </a:p>
        <a:p>
          <a:r>
            <a:rPr lang="en-US" dirty="0"/>
            <a:t>*- New Plugin should be able to read vulnerabilities from IDE.</a:t>
          </a:r>
        </a:p>
      </dgm:t>
    </dgm:pt>
    <dgm:pt modelId="{E8F66969-6E35-40E1-8A94-5407CAD85195}" type="parTrans" cxnId="{80112BF8-C34F-4330-976A-41A44A466D64}">
      <dgm:prSet/>
      <dgm:spPr/>
      <dgm:t>
        <a:bodyPr/>
        <a:lstStyle/>
        <a:p>
          <a:endParaRPr lang="en-US"/>
        </a:p>
      </dgm:t>
    </dgm:pt>
    <dgm:pt modelId="{31AA1ED5-6119-4002-A160-D6816C97FD29}" type="sibTrans" cxnId="{80112BF8-C34F-4330-976A-41A44A466D64}">
      <dgm:prSet/>
      <dgm:spPr/>
      <dgm:t>
        <a:bodyPr/>
        <a:lstStyle/>
        <a:p>
          <a:endParaRPr lang="en-US"/>
        </a:p>
      </dgm:t>
    </dgm:pt>
    <dgm:pt modelId="{6827DCC0-BE9E-4D0C-972A-9333EACD0ADF}">
      <dgm:prSet/>
      <dgm:spPr/>
      <dgm:t>
        <a:bodyPr/>
        <a:lstStyle/>
        <a:p>
          <a:r>
            <a:rPr lang="en-US" dirty="0"/>
            <a:t>Task 6 - Run</a:t>
          </a:r>
        </a:p>
        <a:p>
          <a:r>
            <a:rPr lang="en-US" dirty="0"/>
            <a:t>*- While the user selects a particular vulnerability, then Generative AI should be able to understand the vulnerabilities &amp; Provide the fix suggestion</a:t>
          </a:r>
        </a:p>
      </dgm:t>
    </dgm:pt>
    <dgm:pt modelId="{E0ABC870-D205-4AA3-9C26-41603623D059}" type="parTrans" cxnId="{9C45D946-1272-47AB-8C64-E3C1BDD935D7}">
      <dgm:prSet/>
      <dgm:spPr/>
      <dgm:t>
        <a:bodyPr/>
        <a:lstStyle/>
        <a:p>
          <a:endParaRPr lang="en-US"/>
        </a:p>
      </dgm:t>
    </dgm:pt>
    <dgm:pt modelId="{071595EE-C49E-4353-BEB2-A6908D0159AE}" type="sibTrans" cxnId="{9C45D946-1272-47AB-8C64-E3C1BDD935D7}">
      <dgm:prSet/>
      <dgm:spPr/>
      <dgm:t>
        <a:bodyPr/>
        <a:lstStyle/>
        <a:p>
          <a:endParaRPr lang="en-US"/>
        </a:p>
      </dgm:t>
    </dgm:pt>
    <dgm:pt modelId="{5862B9F2-9425-4755-A47E-2F4F1E6FBED5}">
      <dgm:prSet/>
      <dgm:spPr/>
      <dgm:t>
        <a:bodyPr/>
        <a:lstStyle/>
        <a:p>
          <a:r>
            <a:rPr lang="en-US" dirty="0"/>
            <a:t>Task 7 - Run</a:t>
          </a:r>
        </a:p>
        <a:p>
          <a:r>
            <a:rPr lang="en-US" dirty="0"/>
            <a:t>*- If there is a small and direct fix then the plugin should be able to fix it. </a:t>
          </a:r>
        </a:p>
      </dgm:t>
    </dgm:pt>
    <dgm:pt modelId="{48FE4451-DE51-48E7-B12C-73809DDB0189}" type="parTrans" cxnId="{C8AB715A-E7DC-40C8-966C-E422320D4980}">
      <dgm:prSet/>
      <dgm:spPr/>
      <dgm:t>
        <a:bodyPr/>
        <a:lstStyle/>
        <a:p>
          <a:endParaRPr lang="en-US"/>
        </a:p>
      </dgm:t>
    </dgm:pt>
    <dgm:pt modelId="{F3557A18-AB37-4DD8-B0B4-6C99BECDB806}" type="sibTrans" cxnId="{C8AB715A-E7DC-40C8-966C-E422320D4980}">
      <dgm:prSet/>
      <dgm:spPr/>
      <dgm:t>
        <a:bodyPr/>
        <a:lstStyle/>
        <a:p>
          <a:endParaRPr lang="en-US"/>
        </a:p>
      </dgm:t>
    </dgm:pt>
    <dgm:pt modelId="{375B5629-D571-4010-B042-E59690021AB2}">
      <dgm:prSet/>
      <dgm:spPr/>
      <dgm:t>
        <a:bodyPr/>
        <a:lstStyle/>
        <a:p>
          <a:r>
            <a:rPr lang="en-US" dirty="0"/>
            <a:t>Task 8- Run</a:t>
          </a:r>
        </a:p>
        <a:p>
          <a:r>
            <a:rPr lang="en-US" dirty="0"/>
            <a:t>*- If there is a complex then it provides multiple suggestions to fix it and then the developer has to fix it manually from suggestion.</a:t>
          </a:r>
        </a:p>
      </dgm:t>
    </dgm:pt>
    <dgm:pt modelId="{4F8E13A7-A491-45E0-A42F-A7F13E50FD7E}" type="parTrans" cxnId="{8AA3A9EC-D715-442C-93B3-02471F70F562}">
      <dgm:prSet/>
      <dgm:spPr/>
      <dgm:t>
        <a:bodyPr/>
        <a:lstStyle/>
        <a:p>
          <a:endParaRPr lang="en-US"/>
        </a:p>
      </dgm:t>
    </dgm:pt>
    <dgm:pt modelId="{BE20CC6E-95CF-446B-BC6A-AA9229CA35EA}" type="sibTrans" cxnId="{8AA3A9EC-D715-442C-93B3-02471F70F562}">
      <dgm:prSet/>
      <dgm:spPr/>
      <dgm:t>
        <a:bodyPr/>
        <a:lstStyle/>
        <a:p>
          <a:endParaRPr lang="en-US"/>
        </a:p>
      </dgm:t>
    </dgm:pt>
    <dgm:pt modelId="{1EB8A2CB-9722-4512-ADD5-7B532D55467C}">
      <dgm:prSet/>
      <dgm:spPr/>
      <dgm:t>
        <a:bodyPr/>
        <a:lstStyle/>
        <a:p>
          <a:r>
            <a:rPr lang="en-US" dirty="0"/>
            <a:t>Task 9 - Clear </a:t>
          </a:r>
        </a:p>
        <a:p>
          <a:r>
            <a:rPr lang="en-US" dirty="0"/>
            <a:t>- Developers will rerun the </a:t>
          </a:r>
          <a:r>
            <a:rPr lang="en-US" dirty="0" err="1"/>
            <a:t>sonarqube</a:t>
          </a:r>
          <a:r>
            <a:rPr lang="en-US" dirty="0"/>
            <a:t> until it clears the vulnerabilities </a:t>
          </a:r>
        </a:p>
      </dgm:t>
    </dgm:pt>
    <dgm:pt modelId="{9F901D23-2350-411B-9222-22445D61F25F}" type="parTrans" cxnId="{C199AF1B-4474-4666-BBA8-3CEE9A316A97}">
      <dgm:prSet/>
      <dgm:spPr/>
      <dgm:t>
        <a:bodyPr/>
        <a:lstStyle/>
        <a:p>
          <a:endParaRPr lang="en-US"/>
        </a:p>
      </dgm:t>
    </dgm:pt>
    <dgm:pt modelId="{50434DC4-EA59-429F-B326-8406663DE857}" type="sibTrans" cxnId="{C199AF1B-4474-4666-BBA8-3CEE9A316A97}">
      <dgm:prSet/>
      <dgm:spPr/>
      <dgm:t>
        <a:bodyPr/>
        <a:lstStyle/>
        <a:p>
          <a:endParaRPr lang="en-US"/>
        </a:p>
      </dgm:t>
    </dgm:pt>
    <dgm:pt modelId="{EAB2F245-1B4D-474C-BF9B-EA8F6EFD5804}">
      <dgm:prSet/>
      <dgm:spPr/>
      <dgm:t>
        <a:bodyPr/>
        <a:lstStyle/>
        <a:p>
          <a:r>
            <a:rPr lang="en-US" dirty="0"/>
            <a:t>Task 10- Clear</a:t>
          </a:r>
        </a:p>
        <a:p>
          <a:r>
            <a:rPr lang="en-US" dirty="0"/>
            <a:t>- Since no automation is expected, this Point is out of scope now.</a:t>
          </a:r>
        </a:p>
      </dgm:t>
    </dgm:pt>
    <dgm:pt modelId="{E8027358-482B-4B97-A75C-73194538F697}" type="parTrans" cxnId="{D88E047B-DF71-47AD-BD29-F73E311B0D01}">
      <dgm:prSet/>
      <dgm:spPr/>
      <dgm:t>
        <a:bodyPr/>
        <a:lstStyle/>
        <a:p>
          <a:endParaRPr lang="en-US"/>
        </a:p>
      </dgm:t>
    </dgm:pt>
    <dgm:pt modelId="{8D7800D3-1A36-4DDD-900E-B4FEB0AFD326}" type="sibTrans" cxnId="{D88E047B-DF71-47AD-BD29-F73E311B0D01}">
      <dgm:prSet/>
      <dgm:spPr/>
      <dgm:t>
        <a:bodyPr/>
        <a:lstStyle/>
        <a:p>
          <a:endParaRPr lang="en-US"/>
        </a:p>
      </dgm:t>
    </dgm:pt>
    <dgm:pt modelId="{A4216284-4B38-4A92-9C94-18A4D3061E3B}" type="pres">
      <dgm:prSet presAssocID="{9416F285-C8D5-4056-9AAB-F0DFD146602E}" presName="Name0" presStyleCnt="0">
        <dgm:presLayoutVars>
          <dgm:dir/>
          <dgm:resizeHandles val="exact"/>
        </dgm:presLayoutVars>
      </dgm:prSet>
      <dgm:spPr/>
    </dgm:pt>
    <dgm:pt modelId="{4CE197FD-E557-4855-8A6E-1C99433B0F40}" type="pres">
      <dgm:prSet presAssocID="{1145FD3E-70C1-43B8-8C33-C17C75876940}" presName="node" presStyleLbl="node1" presStyleIdx="0" presStyleCnt="10">
        <dgm:presLayoutVars>
          <dgm:bulletEnabled val="1"/>
        </dgm:presLayoutVars>
      </dgm:prSet>
      <dgm:spPr/>
    </dgm:pt>
    <dgm:pt modelId="{50877419-A22D-460D-96F5-F83B73D6E2D9}" type="pres">
      <dgm:prSet presAssocID="{585CA4DD-C840-4DB9-BEDE-D32D37C90685}" presName="sibTrans" presStyleLbl="sibTrans1D1" presStyleIdx="0" presStyleCnt="9"/>
      <dgm:spPr/>
    </dgm:pt>
    <dgm:pt modelId="{F3325E3C-BD1B-4422-B7CC-9A403EA24DFD}" type="pres">
      <dgm:prSet presAssocID="{585CA4DD-C840-4DB9-BEDE-D32D37C90685}" presName="connectorText" presStyleLbl="sibTrans1D1" presStyleIdx="0" presStyleCnt="9"/>
      <dgm:spPr/>
    </dgm:pt>
    <dgm:pt modelId="{E8FDD951-B9AD-4075-AE35-F8A0DC531B39}" type="pres">
      <dgm:prSet presAssocID="{A900B2A6-7613-48B6-97D6-4194A3F91EE4}" presName="node" presStyleLbl="node1" presStyleIdx="1" presStyleCnt="10">
        <dgm:presLayoutVars>
          <dgm:bulletEnabled val="1"/>
        </dgm:presLayoutVars>
      </dgm:prSet>
      <dgm:spPr/>
    </dgm:pt>
    <dgm:pt modelId="{B8B48E9E-9022-4984-8265-9C0EC04BB718}" type="pres">
      <dgm:prSet presAssocID="{3ADB08D4-8A91-488B-A7F0-485BED86A9DC}" presName="sibTrans" presStyleLbl="sibTrans1D1" presStyleIdx="1" presStyleCnt="9"/>
      <dgm:spPr/>
    </dgm:pt>
    <dgm:pt modelId="{6E90E711-473F-4955-9595-E9B097017882}" type="pres">
      <dgm:prSet presAssocID="{3ADB08D4-8A91-488B-A7F0-485BED86A9DC}" presName="connectorText" presStyleLbl="sibTrans1D1" presStyleIdx="1" presStyleCnt="9"/>
      <dgm:spPr/>
    </dgm:pt>
    <dgm:pt modelId="{0ACC1891-66E5-43A7-BFD9-96D663E89FFB}" type="pres">
      <dgm:prSet presAssocID="{5ED378B5-3A5E-4BBA-99E9-C93B7596391E}" presName="node" presStyleLbl="node1" presStyleIdx="2" presStyleCnt="10">
        <dgm:presLayoutVars>
          <dgm:bulletEnabled val="1"/>
        </dgm:presLayoutVars>
      </dgm:prSet>
      <dgm:spPr/>
    </dgm:pt>
    <dgm:pt modelId="{0A46FD48-F372-414D-9355-395E3738C0EA}" type="pres">
      <dgm:prSet presAssocID="{B6F4DDCB-112B-4550-B8AB-9358AE4289B8}" presName="sibTrans" presStyleLbl="sibTrans1D1" presStyleIdx="2" presStyleCnt="9"/>
      <dgm:spPr/>
    </dgm:pt>
    <dgm:pt modelId="{75E997C7-ABDE-4FBC-99D0-F23BD9A30F10}" type="pres">
      <dgm:prSet presAssocID="{B6F4DDCB-112B-4550-B8AB-9358AE4289B8}" presName="connectorText" presStyleLbl="sibTrans1D1" presStyleIdx="2" presStyleCnt="9"/>
      <dgm:spPr/>
    </dgm:pt>
    <dgm:pt modelId="{C3F9F1B0-DF74-47F2-84BF-495DA0C29A44}" type="pres">
      <dgm:prSet presAssocID="{31194A3F-BDE6-4F4B-9771-E4AE3A431BA7}" presName="node" presStyleLbl="node1" presStyleIdx="3" presStyleCnt="10">
        <dgm:presLayoutVars>
          <dgm:bulletEnabled val="1"/>
        </dgm:presLayoutVars>
      </dgm:prSet>
      <dgm:spPr/>
    </dgm:pt>
    <dgm:pt modelId="{845ABE45-87CF-467F-951B-07328159FB99}" type="pres">
      <dgm:prSet presAssocID="{0980480D-0511-46AF-87CE-94BEC2D6B355}" presName="sibTrans" presStyleLbl="sibTrans1D1" presStyleIdx="3" presStyleCnt="9"/>
      <dgm:spPr/>
    </dgm:pt>
    <dgm:pt modelId="{42F4918A-188C-44D6-AE70-05E00D510320}" type="pres">
      <dgm:prSet presAssocID="{0980480D-0511-46AF-87CE-94BEC2D6B355}" presName="connectorText" presStyleLbl="sibTrans1D1" presStyleIdx="3" presStyleCnt="9"/>
      <dgm:spPr/>
    </dgm:pt>
    <dgm:pt modelId="{1DADA248-DBD0-4690-B6F3-FF7020A34FE3}" type="pres">
      <dgm:prSet presAssocID="{991DB27D-474C-420B-B30A-0749533A82F7}" presName="node" presStyleLbl="node1" presStyleIdx="4" presStyleCnt="10">
        <dgm:presLayoutVars>
          <dgm:bulletEnabled val="1"/>
        </dgm:presLayoutVars>
      </dgm:prSet>
      <dgm:spPr/>
    </dgm:pt>
    <dgm:pt modelId="{C58BF287-AF2D-4136-914C-9A7F7303D5AC}" type="pres">
      <dgm:prSet presAssocID="{31AA1ED5-6119-4002-A160-D6816C97FD29}" presName="sibTrans" presStyleLbl="sibTrans1D1" presStyleIdx="4" presStyleCnt="9"/>
      <dgm:spPr/>
    </dgm:pt>
    <dgm:pt modelId="{900C7248-E957-4168-9108-3B1726582779}" type="pres">
      <dgm:prSet presAssocID="{31AA1ED5-6119-4002-A160-D6816C97FD29}" presName="connectorText" presStyleLbl="sibTrans1D1" presStyleIdx="4" presStyleCnt="9"/>
      <dgm:spPr/>
    </dgm:pt>
    <dgm:pt modelId="{02DE9F4B-1FC0-4EC9-B65F-95F03D689073}" type="pres">
      <dgm:prSet presAssocID="{6827DCC0-BE9E-4D0C-972A-9333EACD0ADF}" presName="node" presStyleLbl="node1" presStyleIdx="5" presStyleCnt="10">
        <dgm:presLayoutVars>
          <dgm:bulletEnabled val="1"/>
        </dgm:presLayoutVars>
      </dgm:prSet>
      <dgm:spPr/>
    </dgm:pt>
    <dgm:pt modelId="{6E789E93-D71E-48A0-B394-9BF8AE7F606D}" type="pres">
      <dgm:prSet presAssocID="{071595EE-C49E-4353-BEB2-A6908D0159AE}" presName="sibTrans" presStyleLbl="sibTrans1D1" presStyleIdx="5" presStyleCnt="9"/>
      <dgm:spPr/>
    </dgm:pt>
    <dgm:pt modelId="{F0C6DBFD-B7E5-436E-839C-BC44C70F1F5F}" type="pres">
      <dgm:prSet presAssocID="{071595EE-C49E-4353-BEB2-A6908D0159AE}" presName="connectorText" presStyleLbl="sibTrans1D1" presStyleIdx="5" presStyleCnt="9"/>
      <dgm:spPr/>
    </dgm:pt>
    <dgm:pt modelId="{3FBAE29C-562D-47B5-B483-19A0ED58EA3D}" type="pres">
      <dgm:prSet presAssocID="{5862B9F2-9425-4755-A47E-2F4F1E6FBED5}" presName="node" presStyleLbl="node1" presStyleIdx="6" presStyleCnt="10">
        <dgm:presLayoutVars>
          <dgm:bulletEnabled val="1"/>
        </dgm:presLayoutVars>
      </dgm:prSet>
      <dgm:spPr/>
    </dgm:pt>
    <dgm:pt modelId="{9B46973A-0E10-4EEB-991D-1AD3BDA63395}" type="pres">
      <dgm:prSet presAssocID="{F3557A18-AB37-4DD8-B0B4-6C99BECDB806}" presName="sibTrans" presStyleLbl="sibTrans1D1" presStyleIdx="6" presStyleCnt="9"/>
      <dgm:spPr/>
    </dgm:pt>
    <dgm:pt modelId="{D5E7F238-C39E-40E5-BD45-827C24B2E076}" type="pres">
      <dgm:prSet presAssocID="{F3557A18-AB37-4DD8-B0B4-6C99BECDB806}" presName="connectorText" presStyleLbl="sibTrans1D1" presStyleIdx="6" presStyleCnt="9"/>
      <dgm:spPr/>
    </dgm:pt>
    <dgm:pt modelId="{FD3A85FD-728B-475D-A7D2-615E0D611FE2}" type="pres">
      <dgm:prSet presAssocID="{375B5629-D571-4010-B042-E59690021AB2}" presName="node" presStyleLbl="node1" presStyleIdx="7" presStyleCnt="10">
        <dgm:presLayoutVars>
          <dgm:bulletEnabled val="1"/>
        </dgm:presLayoutVars>
      </dgm:prSet>
      <dgm:spPr/>
    </dgm:pt>
    <dgm:pt modelId="{47EF40FA-68F7-4D2C-90B2-CF33F716802F}" type="pres">
      <dgm:prSet presAssocID="{BE20CC6E-95CF-446B-BC6A-AA9229CA35EA}" presName="sibTrans" presStyleLbl="sibTrans1D1" presStyleIdx="7" presStyleCnt="9"/>
      <dgm:spPr/>
    </dgm:pt>
    <dgm:pt modelId="{3C3E0920-9EF4-4EED-9040-2BBFCF0F9B08}" type="pres">
      <dgm:prSet presAssocID="{BE20CC6E-95CF-446B-BC6A-AA9229CA35EA}" presName="connectorText" presStyleLbl="sibTrans1D1" presStyleIdx="7" presStyleCnt="9"/>
      <dgm:spPr/>
    </dgm:pt>
    <dgm:pt modelId="{14030D19-7582-4CDD-A7E7-995EF9227A5D}" type="pres">
      <dgm:prSet presAssocID="{1EB8A2CB-9722-4512-ADD5-7B532D55467C}" presName="node" presStyleLbl="node1" presStyleIdx="8" presStyleCnt="10">
        <dgm:presLayoutVars>
          <dgm:bulletEnabled val="1"/>
        </dgm:presLayoutVars>
      </dgm:prSet>
      <dgm:spPr/>
    </dgm:pt>
    <dgm:pt modelId="{739A738F-BA7F-4DE6-96B3-526A24CE5CDF}" type="pres">
      <dgm:prSet presAssocID="{50434DC4-EA59-429F-B326-8406663DE857}" presName="sibTrans" presStyleLbl="sibTrans1D1" presStyleIdx="8" presStyleCnt="9"/>
      <dgm:spPr/>
    </dgm:pt>
    <dgm:pt modelId="{0A4EAEE4-B56C-496C-B30F-042794933FC9}" type="pres">
      <dgm:prSet presAssocID="{50434DC4-EA59-429F-B326-8406663DE857}" presName="connectorText" presStyleLbl="sibTrans1D1" presStyleIdx="8" presStyleCnt="9"/>
      <dgm:spPr/>
    </dgm:pt>
    <dgm:pt modelId="{28145B29-EB9B-4430-A744-783E2B1BAF9C}" type="pres">
      <dgm:prSet presAssocID="{EAB2F245-1B4D-474C-BF9B-EA8F6EFD5804}" presName="node" presStyleLbl="node1" presStyleIdx="9" presStyleCnt="10">
        <dgm:presLayoutVars>
          <dgm:bulletEnabled val="1"/>
        </dgm:presLayoutVars>
      </dgm:prSet>
      <dgm:spPr/>
    </dgm:pt>
  </dgm:ptLst>
  <dgm:cxnLst>
    <dgm:cxn modelId="{DF132601-4BEA-4FEE-80FB-F5F96B8487CC}" type="presOf" srcId="{1EB8A2CB-9722-4512-ADD5-7B532D55467C}" destId="{14030D19-7582-4CDD-A7E7-995EF9227A5D}" srcOrd="0" destOrd="0" presId="urn:microsoft.com/office/officeart/2016/7/layout/RepeatingBendingProcessNew"/>
    <dgm:cxn modelId="{12533901-4B87-4BC0-B2A1-B411E89FBDC7}" type="presOf" srcId="{BE20CC6E-95CF-446B-BC6A-AA9229CA35EA}" destId="{47EF40FA-68F7-4D2C-90B2-CF33F716802F}" srcOrd="0" destOrd="0" presId="urn:microsoft.com/office/officeart/2016/7/layout/RepeatingBendingProcessNew"/>
    <dgm:cxn modelId="{3BF6A805-0A37-45A3-A259-321B370A653A}" type="presOf" srcId="{3ADB08D4-8A91-488B-A7F0-485BED86A9DC}" destId="{6E90E711-473F-4955-9595-E9B097017882}" srcOrd="1" destOrd="0" presId="urn:microsoft.com/office/officeart/2016/7/layout/RepeatingBendingProcessNew"/>
    <dgm:cxn modelId="{F414AD0F-8B75-4D83-8040-F642247DF019}" srcId="{9416F285-C8D5-4056-9AAB-F0DFD146602E}" destId="{1145FD3E-70C1-43B8-8C33-C17C75876940}" srcOrd="0" destOrd="0" parTransId="{31CAEADA-B424-4C6E-9FF9-CB4107C66C7F}" sibTransId="{585CA4DD-C840-4DB9-BEDE-D32D37C90685}"/>
    <dgm:cxn modelId="{AE2E9810-C10A-4A70-9A14-01AEA2E285C2}" type="presOf" srcId="{BE20CC6E-95CF-446B-BC6A-AA9229CA35EA}" destId="{3C3E0920-9EF4-4EED-9040-2BBFCF0F9B08}" srcOrd="1" destOrd="0" presId="urn:microsoft.com/office/officeart/2016/7/layout/RepeatingBendingProcessNew"/>
    <dgm:cxn modelId="{36157315-A5CE-4294-B662-A5DBA562A575}" type="presOf" srcId="{071595EE-C49E-4353-BEB2-A6908D0159AE}" destId="{F0C6DBFD-B7E5-436E-839C-BC44C70F1F5F}" srcOrd="1" destOrd="0" presId="urn:microsoft.com/office/officeart/2016/7/layout/RepeatingBendingProcessNew"/>
    <dgm:cxn modelId="{C199AF1B-4474-4666-BBA8-3CEE9A316A97}" srcId="{9416F285-C8D5-4056-9AAB-F0DFD146602E}" destId="{1EB8A2CB-9722-4512-ADD5-7B532D55467C}" srcOrd="8" destOrd="0" parTransId="{9F901D23-2350-411B-9222-22445D61F25F}" sibTransId="{50434DC4-EA59-429F-B326-8406663DE857}"/>
    <dgm:cxn modelId="{CB0DBA32-8F94-404C-A00A-A52087E5B733}" type="presOf" srcId="{B6F4DDCB-112B-4550-B8AB-9358AE4289B8}" destId="{0A46FD48-F372-414D-9355-395E3738C0EA}" srcOrd="0" destOrd="0" presId="urn:microsoft.com/office/officeart/2016/7/layout/RepeatingBendingProcessNew"/>
    <dgm:cxn modelId="{905E5233-78FA-4379-974A-78F7F1457ADE}" srcId="{9416F285-C8D5-4056-9AAB-F0DFD146602E}" destId="{A900B2A6-7613-48B6-97D6-4194A3F91EE4}" srcOrd="1" destOrd="0" parTransId="{C4DB8245-1279-483A-B34D-820177ACC481}" sibTransId="{3ADB08D4-8A91-488B-A7F0-485BED86A9DC}"/>
    <dgm:cxn modelId="{5111345F-6ED6-42B2-B0AD-74528056A82D}" type="presOf" srcId="{375B5629-D571-4010-B042-E59690021AB2}" destId="{FD3A85FD-728B-475D-A7D2-615E0D611FE2}" srcOrd="0" destOrd="0" presId="urn:microsoft.com/office/officeart/2016/7/layout/RepeatingBendingProcessNew"/>
    <dgm:cxn modelId="{ECE0965F-7F46-494A-B485-BC46D9FF3022}" type="presOf" srcId="{3ADB08D4-8A91-488B-A7F0-485BED86A9DC}" destId="{B8B48E9E-9022-4984-8265-9C0EC04BB718}" srcOrd="0" destOrd="0" presId="urn:microsoft.com/office/officeart/2016/7/layout/RepeatingBendingProcessNew"/>
    <dgm:cxn modelId="{9C45D946-1272-47AB-8C64-E3C1BDD935D7}" srcId="{9416F285-C8D5-4056-9AAB-F0DFD146602E}" destId="{6827DCC0-BE9E-4D0C-972A-9333EACD0ADF}" srcOrd="5" destOrd="0" parTransId="{E0ABC870-D205-4AA3-9C26-41603623D059}" sibTransId="{071595EE-C49E-4353-BEB2-A6908D0159AE}"/>
    <dgm:cxn modelId="{9B55B549-B07B-4F2D-83DE-F6B941970366}" type="presOf" srcId="{A900B2A6-7613-48B6-97D6-4194A3F91EE4}" destId="{E8FDD951-B9AD-4075-AE35-F8A0DC531B39}" srcOrd="0" destOrd="0" presId="urn:microsoft.com/office/officeart/2016/7/layout/RepeatingBendingProcessNew"/>
    <dgm:cxn modelId="{DA553456-D2A4-44FE-8610-2585FB1370D2}" type="presOf" srcId="{31AA1ED5-6119-4002-A160-D6816C97FD29}" destId="{C58BF287-AF2D-4136-914C-9A7F7303D5AC}" srcOrd="0" destOrd="0" presId="urn:microsoft.com/office/officeart/2016/7/layout/RepeatingBendingProcessNew"/>
    <dgm:cxn modelId="{1ED2E976-BBAB-4F23-AC95-DCD8956EA290}" type="presOf" srcId="{9416F285-C8D5-4056-9AAB-F0DFD146602E}" destId="{A4216284-4B38-4A92-9C94-18A4D3061E3B}" srcOrd="0" destOrd="0" presId="urn:microsoft.com/office/officeart/2016/7/layout/RepeatingBendingProcessNew"/>
    <dgm:cxn modelId="{E65FB857-4711-423D-9032-8546C49F3C3D}" type="presOf" srcId="{31194A3F-BDE6-4F4B-9771-E4AE3A431BA7}" destId="{C3F9F1B0-DF74-47F2-84BF-495DA0C29A44}" srcOrd="0" destOrd="0" presId="urn:microsoft.com/office/officeart/2016/7/layout/RepeatingBendingProcessNew"/>
    <dgm:cxn modelId="{D49BB078-A7E8-4B81-B961-06D36D63844B}" type="presOf" srcId="{0980480D-0511-46AF-87CE-94BEC2D6B355}" destId="{845ABE45-87CF-467F-951B-07328159FB99}" srcOrd="0" destOrd="0" presId="urn:microsoft.com/office/officeart/2016/7/layout/RepeatingBendingProcessNew"/>
    <dgm:cxn modelId="{C8AB715A-E7DC-40C8-966C-E422320D4980}" srcId="{9416F285-C8D5-4056-9AAB-F0DFD146602E}" destId="{5862B9F2-9425-4755-A47E-2F4F1E6FBED5}" srcOrd="6" destOrd="0" parTransId="{48FE4451-DE51-48E7-B12C-73809DDB0189}" sibTransId="{F3557A18-AB37-4DD8-B0B4-6C99BECDB806}"/>
    <dgm:cxn modelId="{9469B95A-D3BA-4568-94BC-4300F5D193D9}" type="presOf" srcId="{B6F4DDCB-112B-4550-B8AB-9358AE4289B8}" destId="{75E997C7-ABDE-4FBC-99D0-F23BD9A30F10}" srcOrd="1" destOrd="0" presId="urn:microsoft.com/office/officeart/2016/7/layout/RepeatingBendingProcessNew"/>
    <dgm:cxn modelId="{D88E047B-DF71-47AD-BD29-F73E311B0D01}" srcId="{9416F285-C8D5-4056-9AAB-F0DFD146602E}" destId="{EAB2F245-1B4D-474C-BF9B-EA8F6EFD5804}" srcOrd="9" destOrd="0" parTransId="{E8027358-482B-4B97-A75C-73194538F697}" sibTransId="{8D7800D3-1A36-4DDD-900E-B4FEB0AFD326}"/>
    <dgm:cxn modelId="{0C4D0B82-B34C-4B68-8D89-8B7D4D550A28}" type="presOf" srcId="{31AA1ED5-6119-4002-A160-D6816C97FD29}" destId="{900C7248-E957-4168-9108-3B1726582779}" srcOrd="1" destOrd="0" presId="urn:microsoft.com/office/officeart/2016/7/layout/RepeatingBendingProcessNew"/>
    <dgm:cxn modelId="{80E8CA92-8044-4CD0-A2E0-9E27B0D4F079}" type="presOf" srcId="{991DB27D-474C-420B-B30A-0749533A82F7}" destId="{1DADA248-DBD0-4690-B6F3-FF7020A34FE3}" srcOrd="0" destOrd="0" presId="urn:microsoft.com/office/officeart/2016/7/layout/RepeatingBendingProcessNew"/>
    <dgm:cxn modelId="{EEBBB196-2429-439D-A625-92E9E56D6911}" type="presOf" srcId="{585CA4DD-C840-4DB9-BEDE-D32D37C90685}" destId="{50877419-A22D-460D-96F5-F83B73D6E2D9}" srcOrd="0" destOrd="0" presId="urn:microsoft.com/office/officeart/2016/7/layout/RepeatingBendingProcessNew"/>
    <dgm:cxn modelId="{EAEA999B-8B76-491B-974C-B0E2BEC884AE}" type="presOf" srcId="{F3557A18-AB37-4DD8-B0B4-6C99BECDB806}" destId="{D5E7F238-C39E-40E5-BD45-827C24B2E076}" srcOrd="1" destOrd="0" presId="urn:microsoft.com/office/officeart/2016/7/layout/RepeatingBendingProcessNew"/>
    <dgm:cxn modelId="{5A90A09D-6349-40A2-9D6C-98DD6DFF9D5E}" type="presOf" srcId="{1145FD3E-70C1-43B8-8C33-C17C75876940}" destId="{4CE197FD-E557-4855-8A6E-1C99433B0F40}" srcOrd="0" destOrd="0" presId="urn:microsoft.com/office/officeart/2016/7/layout/RepeatingBendingProcessNew"/>
    <dgm:cxn modelId="{02F9E3A5-25E7-427F-8D88-83EA78909A7B}" type="presOf" srcId="{5ED378B5-3A5E-4BBA-99E9-C93B7596391E}" destId="{0ACC1891-66E5-43A7-BFD9-96D663E89FFB}" srcOrd="0" destOrd="0" presId="urn:microsoft.com/office/officeart/2016/7/layout/RepeatingBendingProcessNew"/>
    <dgm:cxn modelId="{AEA75AA9-E071-430A-88BB-705F08F8EE3E}" type="presOf" srcId="{585CA4DD-C840-4DB9-BEDE-D32D37C90685}" destId="{F3325E3C-BD1B-4422-B7CC-9A403EA24DFD}" srcOrd="1" destOrd="0" presId="urn:microsoft.com/office/officeart/2016/7/layout/RepeatingBendingProcessNew"/>
    <dgm:cxn modelId="{31C795B5-BCCD-49E2-ABD9-ED39735812D0}" srcId="{9416F285-C8D5-4056-9AAB-F0DFD146602E}" destId="{5ED378B5-3A5E-4BBA-99E9-C93B7596391E}" srcOrd="2" destOrd="0" parTransId="{85E0F7C2-2055-4901-923C-B06563958F37}" sibTransId="{B6F4DDCB-112B-4550-B8AB-9358AE4289B8}"/>
    <dgm:cxn modelId="{C0FA61BD-7E67-4484-915B-11C293A53448}" type="presOf" srcId="{EAB2F245-1B4D-474C-BF9B-EA8F6EFD5804}" destId="{28145B29-EB9B-4430-A744-783E2B1BAF9C}" srcOrd="0" destOrd="0" presId="urn:microsoft.com/office/officeart/2016/7/layout/RepeatingBendingProcessNew"/>
    <dgm:cxn modelId="{255945C4-891E-4F33-927C-151AC48F6FA4}" type="presOf" srcId="{50434DC4-EA59-429F-B326-8406663DE857}" destId="{0A4EAEE4-B56C-496C-B30F-042794933FC9}" srcOrd="1" destOrd="0" presId="urn:microsoft.com/office/officeart/2016/7/layout/RepeatingBendingProcessNew"/>
    <dgm:cxn modelId="{D6B0FDC4-87A6-45CC-A7EB-1FC006E32218}" type="presOf" srcId="{50434DC4-EA59-429F-B326-8406663DE857}" destId="{739A738F-BA7F-4DE6-96B3-526A24CE5CDF}" srcOrd="0" destOrd="0" presId="urn:microsoft.com/office/officeart/2016/7/layout/RepeatingBendingProcessNew"/>
    <dgm:cxn modelId="{2FDBB9D5-ABA9-49E1-94DA-692F85E2D51A}" type="presOf" srcId="{0980480D-0511-46AF-87CE-94BEC2D6B355}" destId="{42F4918A-188C-44D6-AE70-05E00D510320}" srcOrd="1" destOrd="0" presId="urn:microsoft.com/office/officeart/2016/7/layout/RepeatingBendingProcessNew"/>
    <dgm:cxn modelId="{5026F5DF-6166-4DEC-AB0F-8585432F4C40}" type="presOf" srcId="{071595EE-C49E-4353-BEB2-A6908D0159AE}" destId="{6E789E93-D71E-48A0-B394-9BF8AE7F606D}" srcOrd="0" destOrd="0" presId="urn:microsoft.com/office/officeart/2016/7/layout/RepeatingBendingProcessNew"/>
    <dgm:cxn modelId="{8AA3A9EC-D715-442C-93B3-02471F70F562}" srcId="{9416F285-C8D5-4056-9AAB-F0DFD146602E}" destId="{375B5629-D571-4010-B042-E59690021AB2}" srcOrd="7" destOrd="0" parTransId="{4F8E13A7-A491-45E0-A42F-A7F13E50FD7E}" sibTransId="{BE20CC6E-95CF-446B-BC6A-AA9229CA35EA}"/>
    <dgm:cxn modelId="{F4BB14F0-C8D2-4F1E-942F-286505E875DB}" type="presOf" srcId="{6827DCC0-BE9E-4D0C-972A-9333EACD0ADF}" destId="{02DE9F4B-1FC0-4EC9-B65F-95F03D689073}" srcOrd="0" destOrd="0" presId="urn:microsoft.com/office/officeart/2016/7/layout/RepeatingBendingProcessNew"/>
    <dgm:cxn modelId="{81A34AF3-8D3D-4537-89AB-766A01B21855}" type="presOf" srcId="{5862B9F2-9425-4755-A47E-2F4F1E6FBED5}" destId="{3FBAE29C-562D-47B5-B483-19A0ED58EA3D}" srcOrd="0" destOrd="0" presId="urn:microsoft.com/office/officeart/2016/7/layout/RepeatingBendingProcessNew"/>
    <dgm:cxn modelId="{6C6163F5-F70E-4F95-B2E9-B8ABED31FEDE}" type="presOf" srcId="{F3557A18-AB37-4DD8-B0B4-6C99BECDB806}" destId="{9B46973A-0E10-4EEB-991D-1AD3BDA63395}" srcOrd="0" destOrd="0" presId="urn:microsoft.com/office/officeart/2016/7/layout/RepeatingBendingProcessNew"/>
    <dgm:cxn modelId="{D40EC5F5-2944-43E3-816D-597759F6023C}" srcId="{9416F285-C8D5-4056-9AAB-F0DFD146602E}" destId="{31194A3F-BDE6-4F4B-9771-E4AE3A431BA7}" srcOrd="3" destOrd="0" parTransId="{AB82F7C1-9CA7-4631-8A25-28464B83F7AD}" sibTransId="{0980480D-0511-46AF-87CE-94BEC2D6B355}"/>
    <dgm:cxn modelId="{80112BF8-C34F-4330-976A-41A44A466D64}" srcId="{9416F285-C8D5-4056-9AAB-F0DFD146602E}" destId="{991DB27D-474C-420B-B30A-0749533A82F7}" srcOrd="4" destOrd="0" parTransId="{E8F66969-6E35-40E1-8A94-5407CAD85195}" sibTransId="{31AA1ED5-6119-4002-A160-D6816C97FD29}"/>
    <dgm:cxn modelId="{AF449B6A-89E0-45D8-931D-EC44FEAEB938}" type="presParOf" srcId="{A4216284-4B38-4A92-9C94-18A4D3061E3B}" destId="{4CE197FD-E557-4855-8A6E-1C99433B0F40}" srcOrd="0" destOrd="0" presId="urn:microsoft.com/office/officeart/2016/7/layout/RepeatingBendingProcessNew"/>
    <dgm:cxn modelId="{4183527F-8449-4331-9656-F10FCD9DC837}" type="presParOf" srcId="{A4216284-4B38-4A92-9C94-18A4D3061E3B}" destId="{50877419-A22D-460D-96F5-F83B73D6E2D9}" srcOrd="1" destOrd="0" presId="urn:microsoft.com/office/officeart/2016/7/layout/RepeatingBendingProcessNew"/>
    <dgm:cxn modelId="{FA85394D-8EFB-443B-B9BE-966E238F94A1}" type="presParOf" srcId="{50877419-A22D-460D-96F5-F83B73D6E2D9}" destId="{F3325E3C-BD1B-4422-B7CC-9A403EA24DFD}" srcOrd="0" destOrd="0" presId="urn:microsoft.com/office/officeart/2016/7/layout/RepeatingBendingProcessNew"/>
    <dgm:cxn modelId="{979E26AD-560D-4C94-95CE-180229028115}" type="presParOf" srcId="{A4216284-4B38-4A92-9C94-18A4D3061E3B}" destId="{E8FDD951-B9AD-4075-AE35-F8A0DC531B39}" srcOrd="2" destOrd="0" presId="urn:microsoft.com/office/officeart/2016/7/layout/RepeatingBendingProcessNew"/>
    <dgm:cxn modelId="{8F985FE3-50FD-4090-8F97-B8860893FABF}" type="presParOf" srcId="{A4216284-4B38-4A92-9C94-18A4D3061E3B}" destId="{B8B48E9E-9022-4984-8265-9C0EC04BB718}" srcOrd="3" destOrd="0" presId="urn:microsoft.com/office/officeart/2016/7/layout/RepeatingBendingProcessNew"/>
    <dgm:cxn modelId="{D064D59A-9BF8-4EBC-B2C9-57CA5A7A57B5}" type="presParOf" srcId="{B8B48E9E-9022-4984-8265-9C0EC04BB718}" destId="{6E90E711-473F-4955-9595-E9B097017882}" srcOrd="0" destOrd="0" presId="urn:microsoft.com/office/officeart/2016/7/layout/RepeatingBendingProcessNew"/>
    <dgm:cxn modelId="{6B0C3188-976C-4A86-BD95-4057C01C5490}" type="presParOf" srcId="{A4216284-4B38-4A92-9C94-18A4D3061E3B}" destId="{0ACC1891-66E5-43A7-BFD9-96D663E89FFB}" srcOrd="4" destOrd="0" presId="urn:microsoft.com/office/officeart/2016/7/layout/RepeatingBendingProcessNew"/>
    <dgm:cxn modelId="{3391C7BE-337E-4A56-831E-2780F2E3D78A}" type="presParOf" srcId="{A4216284-4B38-4A92-9C94-18A4D3061E3B}" destId="{0A46FD48-F372-414D-9355-395E3738C0EA}" srcOrd="5" destOrd="0" presId="urn:microsoft.com/office/officeart/2016/7/layout/RepeatingBendingProcessNew"/>
    <dgm:cxn modelId="{A4DBB938-0AB6-494A-A16A-DC79D053A5AA}" type="presParOf" srcId="{0A46FD48-F372-414D-9355-395E3738C0EA}" destId="{75E997C7-ABDE-4FBC-99D0-F23BD9A30F10}" srcOrd="0" destOrd="0" presId="urn:microsoft.com/office/officeart/2016/7/layout/RepeatingBendingProcessNew"/>
    <dgm:cxn modelId="{09B9B875-1F8F-4F43-BFF3-A96A36E32E3B}" type="presParOf" srcId="{A4216284-4B38-4A92-9C94-18A4D3061E3B}" destId="{C3F9F1B0-DF74-47F2-84BF-495DA0C29A44}" srcOrd="6" destOrd="0" presId="urn:microsoft.com/office/officeart/2016/7/layout/RepeatingBendingProcessNew"/>
    <dgm:cxn modelId="{24DC0C4D-4398-4CC2-8C48-2DA08D2023BE}" type="presParOf" srcId="{A4216284-4B38-4A92-9C94-18A4D3061E3B}" destId="{845ABE45-87CF-467F-951B-07328159FB99}" srcOrd="7" destOrd="0" presId="urn:microsoft.com/office/officeart/2016/7/layout/RepeatingBendingProcessNew"/>
    <dgm:cxn modelId="{49CAD751-054B-420F-A7F7-2102D47834A9}" type="presParOf" srcId="{845ABE45-87CF-467F-951B-07328159FB99}" destId="{42F4918A-188C-44D6-AE70-05E00D510320}" srcOrd="0" destOrd="0" presId="urn:microsoft.com/office/officeart/2016/7/layout/RepeatingBendingProcessNew"/>
    <dgm:cxn modelId="{2F1381CF-5D79-4E0B-95D5-D9836DA49F1F}" type="presParOf" srcId="{A4216284-4B38-4A92-9C94-18A4D3061E3B}" destId="{1DADA248-DBD0-4690-B6F3-FF7020A34FE3}" srcOrd="8" destOrd="0" presId="urn:microsoft.com/office/officeart/2016/7/layout/RepeatingBendingProcessNew"/>
    <dgm:cxn modelId="{AF772695-3ED5-4C6A-BDEB-40DFD710698B}" type="presParOf" srcId="{A4216284-4B38-4A92-9C94-18A4D3061E3B}" destId="{C58BF287-AF2D-4136-914C-9A7F7303D5AC}" srcOrd="9" destOrd="0" presId="urn:microsoft.com/office/officeart/2016/7/layout/RepeatingBendingProcessNew"/>
    <dgm:cxn modelId="{5125D748-70BB-4772-9222-911CD2C92229}" type="presParOf" srcId="{C58BF287-AF2D-4136-914C-9A7F7303D5AC}" destId="{900C7248-E957-4168-9108-3B1726582779}" srcOrd="0" destOrd="0" presId="urn:microsoft.com/office/officeart/2016/7/layout/RepeatingBendingProcessNew"/>
    <dgm:cxn modelId="{5E25FD09-BB83-4D81-A2AD-CE8A31FAFDA9}" type="presParOf" srcId="{A4216284-4B38-4A92-9C94-18A4D3061E3B}" destId="{02DE9F4B-1FC0-4EC9-B65F-95F03D689073}" srcOrd="10" destOrd="0" presId="urn:microsoft.com/office/officeart/2016/7/layout/RepeatingBendingProcessNew"/>
    <dgm:cxn modelId="{43767017-DB35-4E3B-A741-CD2A7AADFDB7}" type="presParOf" srcId="{A4216284-4B38-4A92-9C94-18A4D3061E3B}" destId="{6E789E93-D71E-48A0-B394-9BF8AE7F606D}" srcOrd="11" destOrd="0" presId="urn:microsoft.com/office/officeart/2016/7/layout/RepeatingBendingProcessNew"/>
    <dgm:cxn modelId="{AFB04628-48D9-491D-A99F-A207EE845249}" type="presParOf" srcId="{6E789E93-D71E-48A0-B394-9BF8AE7F606D}" destId="{F0C6DBFD-B7E5-436E-839C-BC44C70F1F5F}" srcOrd="0" destOrd="0" presId="urn:microsoft.com/office/officeart/2016/7/layout/RepeatingBendingProcessNew"/>
    <dgm:cxn modelId="{BC64A71C-B10E-4265-8EE5-DD5B3AD06ACB}" type="presParOf" srcId="{A4216284-4B38-4A92-9C94-18A4D3061E3B}" destId="{3FBAE29C-562D-47B5-B483-19A0ED58EA3D}" srcOrd="12" destOrd="0" presId="urn:microsoft.com/office/officeart/2016/7/layout/RepeatingBendingProcessNew"/>
    <dgm:cxn modelId="{C4CBFD32-F243-47C3-85EF-B915DD273B85}" type="presParOf" srcId="{A4216284-4B38-4A92-9C94-18A4D3061E3B}" destId="{9B46973A-0E10-4EEB-991D-1AD3BDA63395}" srcOrd="13" destOrd="0" presId="urn:microsoft.com/office/officeart/2016/7/layout/RepeatingBendingProcessNew"/>
    <dgm:cxn modelId="{4C84AA4E-7E80-4E79-A674-2C697FBBC6BE}" type="presParOf" srcId="{9B46973A-0E10-4EEB-991D-1AD3BDA63395}" destId="{D5E7F238-C39E-40E5-BD45-827C24B2E076}" srcOrd="0" destOrd="0" presId="urn:microsoft.com/office/officeart/2016/7/layout/RepeatingBendingProcessNew"/>
    <dgm:cxn modelId="{080A1661-646A-4F6F-B414-62C1F9992E31}" type="presParOf" srcId="{A4216284-4B38-4A92-9C94-18A4D3061E3B}" destId="{FD3A85FD-728B-475D-A7D2-615E0D611FE2}" srcOrd="14" destOrd="0" presId="urn:microsoft.com/office/officeart/2016/7/layout/RepeatingBendingProcessNew"/>
    <dgm:cxn modelId="{4A4028C5-4B3A-4160-BAE0-CA99B5BCD2FC}" type="presParOf" srcId="{A4216284-4B38-4A92-9C94-18A4D3061E3B}" destId="{47EF40FA-68F7-4D2C-90B2-CF33F716802F}" srcOrd="15" destOrd="0" presId="urn:microsoft.com/office/officeart/2016/7/layout/RepeatingBendingProcessNew"/>
    <dgm:cxn modelId="{F425A2F0-4260-477C-A253-B678D5322636}" type="presParOf" srcId="{47EF40FA-68F7-4D2C-90B2-CF33F716802F}" destId="{3C3E0920-9EF4-4EED-9040-2BBFCF0F9B08}" srcOrd="0" destOrd="0" presId="urn:microsoft.com/office/officeart/2016/7/layout/RepeatingBendingProcessNew"/>
    <dgm:cxn modelId="{890F78B3-270A-4474-B74C-815B9C11BBB1}" type="presParOf" srcId="{A4216284-4B38-4A92-9C94-18A4D3061E3B}" destId="{14030D19-7582-4CDD-A7E7-995EF9227A5D}" srcOrd="16" destOrd="0" presId="urn:microsoft.com/office/officeart/2016/7/layout/RepeatingBendingProcessNew"/>
    <dgm:cxn modelId="{2D33253A-9856-471F-B369-23FD6F80C9DC}" type="presParOf" srcId="{A4216284-4B38-4A92-9C94-18A4D3061E3B}" destId="{739A738F-BA7F-4DE6-96B3-526A24CE5CDF}" srcOrd="17" destOrd="0" presId="urn:microsoft.com/office/officeart/2016/7/layout/RepeatingBendingProcessNew"/>
    <dgm:cxn modelId="{ED72225E-F182-4D72-85B6-D2DA07127A01}" type="presParOf" srcId="{739A738F-BA7F-4DE6-96B3-526A24CE5CDF}" destId="{0A4EAEE4-B56C-496C-B30F-042794933FC9}" srcOrd="0" destOrd="0" presId="urn:microsoft.com/office/officeart/2016/7/layout/RepeatingBendingProcessNew"/>
    <dgm:cxn modelId="{103CC94A-5E98-41BC-AEFF-4B00C53B7FD4}" type="presParOf" srcId="{A4216284-4B38-4A92-9C94-18A4D3061E3B}" destId="{28145B29-EB9B-4430-A744-783E2B1BAF9C}" srcOrd="18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877419-A22D-460D-96F5-F83B73D6E2D9}">
      <dsp:nvSpPr>
        <dsp:cNvPr id="0" name=""/>
        <dsp:cNvSpPr/>
      </dsp:nvSpPr>
      <dsp:spPr>
        <a:xfrm>
          <a:off x="2535315" y="593469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1302" y="636752"/>
        <a:ext cx="24345" cy="4873"/>
      </dsp:txXfrm>
    </dsp:sp>
    <dsp:sp modelId="{4CE197FD-E557-4855-8A6E-1C99433B0F40}">
      <dsp:nvSpPr>
        <dsp:cNvPr id="0" name=""/>
        <dsp:cNvSpPr/>
      </dsp:nvSpPr>
      <dsp:spPr>
        <a:xfrm>
          <a:off x="420077" y="4077"/>
          <a:ext cx="2117038" cy="127022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1 -  Trigg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</a:t>
          </a:r>
          <a:r>
            <a:rPr lang="en-US" sz="1200" kern="1200" dirty="0" err="1"/>
            <a:t>Sonarqube</a:t>
          </a:r>
          <a:r>
            <a:rPr lang="en-US" sz="1200" kern="1200" dirty="0"/>
            <a:t> will be triggered by the developer on local setup (in local or pipeline)</a:t>
          </a:r>
        </a:p>
      </dsp:txBody>
      <dsp:txXfrm>
        <a:off x="420077" y="4077"/>
        <a:ext cx="2117038" cy="1270223"/>
      </dsp:txXfrm>
    </dsp:sp>
    <dsp:sp modelId="{B8B48E9E-9022-4984-8265-9C0EC04BB718}">
      <dsp:nvSpPr>
        <dsp:cNvPr id="0" name=""/>
        <dsp:cNvSpPr/>
      </dsp:nvSpPr>
      <dsp:spPr>
        <a:xfrm>
          <a:off x="5139273" y="593469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181920"/>
              <a:satOff val="-10491"/>
              <a:lumOff val="107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355260" y="636752"/>
        <a:ext cx="24345" cy="4873"/>
      </dsp:txXfrm>
    </dsp:sp>
    <dsp:sp modelId="{E8FDD951-B9AD-4075-AE35-F8A0DC531B39}">
      <dsp:nvSpPr>
        <dsp:cNvPr id="0" name=""/>
        <dsp:cNvSpPr/>
      </dsp:nvSpPr>
      <dsp:spPr>
        <a:xfrm>
          <a:off x="3024034" y="4077"/>
          <a:ext cx="2117038" cy="1270223"/>
        </a:xfrm>
        <a:prstGeom prst="rect">
          <a:avLst/>
        </a:prstGeom>
        <a:solidFill>
          <a:schemeClr val="accent2">
            <a:hueOff val="-161707"/>
            <a:satOff val="-9325"/>
            <a:lumOff val="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2  - Trigg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Since no automation is expected, this Point is out of scope now. </a:t>
          </a:r>
        </a:p>
      </dsp:txBody>
      <dsp:txXfrm>
        <a:off x="3024034" y="4077"/>
        <a:ext cx="2117038" cy="1270223"/>
      </dsp:txXfrm>
    </dsp:sp>
    <dsp:sp modelId="{0A46FD48-F372-414D-9355-395E3738C0EA}">
      <dsp:nvSpPr>
        <dsp:cNvPr id="0" name=""/>
        <dsp:cNvSpPr/>
      </dsp:nvSpPr>
      <dsp:spPr>
        <a:xfrm>
          <a:off x="7743231" y="593469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363841"/>
              <a:satOff val="-20982"/>
              <a:lumOff val="2157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959217" y="636752"/>
        <a:ext cx="24345" cy="4873"/>
      </dsp:txXfrm>
    </dsp:sp>
    <dsp:sp modelId="{0ACC1891-66E5-43A7-BFD9-96D663E89FFB}">
      <dsp:nvSpPr>
        <dsp:cNvPr id="0" name=""/>
        <dsp:cNvSpPr/>
      </dsp:nvSpPr>
      <dsp:spPr>
        <a:xfrm>
          <a:off x="5627992" y="4077"/>
          <a:ext cx="2117038" cy="1270223"/>
        </a:xfrm>
        <a:prstGeom prst="rect">
          <a:avLst/>
        </a:prstGeom>
        <a:solidFill>
          <a:schemeClr val="accent2">
            <a:hueOff val="-323414"/>
            <a:satOff val="-18651"/>
            <a:lumOff val="19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3 - Report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urrently, System </a:t>
          </a:r>
          <a:r>
            <a:rPr lang="en-US" sz="1200" kern="1200" dirty="0" err="1"/>
            <a:t>Sonarquebe</a:t>
          </a:r>
          <a:r>
            <a:rPr lang="en-US" sz="1200" kern="1200" dirty="0"/>
            <a:t> will not generate the report. Developers can see the vulnerabilities in a separate window for IDE.   </a:t>
          </a:r>
        </a:p>
      </dsp:txBody>
      <dsp:txXfrm>
        <a:off x="5627992" y="4077"/>
        <a:ext cx="2117038" cy="1270223"/>
      </dsp:txXfrm>
    </dsp:sp>
    <dsp:sp modelId="{845ABE45-87CF-467F-951B-07328159FB99}">
      <dsp:nvSpPr>
        <dsp:cNvPr id="0" name=""/>
        <dsp:cNvSpPr/>
      </dsp:nvSpPr>
      <dsp:spPr>
        <a:xfrm>
          <a:off x="1478596" y="1272500"/>
          <a:ext cx="7811873" cy="456318"/>
        </a:xfrm>
        <a:custGeom>
          <a:avLst/>
          <a:gdLst/>
          <a:ahLst/>
          <a:cxnLst/>
          <a:rect l="0" t="0" r="0" b="0"/>
          <a:pathLst>
            <a:path>
              <a:moveTo>
                <a:pt x="7811873" y="0"/>
              </a:moveTo>
              <a:lnTo>
                <a:pt x="7811873" y="245259"/>
              </a:lnTo>
              <a:lnTo>
                <a:pt x="0" y="245259"/>
              </a:lnTo>
              <a:lnTo>
                <a:pt x="0" y="456318"/>
              </a:lnTo>
            </a:path>
          </a:pathLst>
        </a:custGeom>
        <a:noFill/>
        <a:ln w="6350" cap="flat" cmpd="sng" algn="ctr">
          <a:solidFill>
            <a:schemeClr val="accent2">
              <a:hueOff val="-545761"/>
              <a:satOff val="-31473"/>
              <a:lumOff val="3235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188857" y="1498223"/>
        <a:ext cx="391351" cy="4873"/>
      </dsp:txXfrm>
    </dsp:sp>
    <dsp:sp modelId="{C3F9F1B0-DF74-47F2-84BF-495DA0C29A44}">
      <dsp:nvSpPr>
        <dsp:cNvPr id="0" name=""/>
        <dsp:cNvSpPr/>
      </dsp:nvSpPr>
      <dsp:spPr>
        <a:xfrm>
          <a:off x="8231950" y="4077"/>
          <a:ext cx="2117038" cy="1270223"/>
        </a:xfrm>
        <a:prstGeom prst="rect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4  - Repor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*- </a:t>
          </a:r>
          <a:r>
            <a:rPr lang="en-US" sz="1200" kern="1200" dirty="0" err="1"/>
            <a:t>PlugIn</a:t>
          </a:r>
          <a:r>
            <a:rPr lang="en-US" sz="1200" kern="1200" dirty="0"/>
            <a:t> is required to get the generated vulnerabilities from IDE.</a:t>
          </a:r>
        </a:p>
      </dsp:txBody>
      <dsp:txXfrm>
        <a:off x="8231950" y="4077"/>
        <a:ext cx="2117038" cy="1270223"/>
      </dsp:txXfrm>
    </dsp:sp>
    <dsp:sp modelId="{C58BF287-AF2D-4136-914C-9A7F7303D5AC}">
      <dsp:nvSpPr>
        <dsp:cNvPr id="0" name=""/>
        <dsp:cNvSpPr/>
      </dsp:nvSpPr>
      <dsp:spPr>
        <a:xfrm>
          <a:off x="2535315" y="2350611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727682"/>
              <a:satOff val="-41964"/>
              <a:lumOff val="4314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1302" y="2393894"/>
        <a:ext cx="24345" cy="4873"/>
      </dsp:txXfrm>
    </dsp:sp>
    <dsp:sp modelId="{1DADA248-DBD0-4690-B6F3-FF7020A34FE3}">
      <dsp:nvSpPr>
        <dsp:cNvPr id="0" name=""/>
        <dsp:cNvSpPr/>
      </dsp:nvSpPr>
      <dsp:spPr>
        <a:xfrm>
          <a:off x="420077" y="1761219"/>
          <a:ext cx="2117038" cy="1270223"/>
        </a:xfrm>
        <a:prstGeom prst="rect">
          <a:avLst/>
        </a:prstGeom>
        <a:solidFill>
          <a:schemeClr val="accent2">
            <a:hueOff val="-646828"/>
            <a:satOff val="-37301"/>
            <a:lumOff val="38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5 - Ru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*- New Plugin should be able to read vulnerabilities from IDE.</a:t>
          </a:r>
        </a:p>
      </dsp:txBody>
      <dsp:txXfrm>
        <a:off x="420077" y="1761219"/>
        <a:ext cx="2117038" cy="1270223"/>
      </dsp:txXfrm>
    </dsp:sp>
    <dsp:sp modelId="{6E789E93-D71E-48A0-B394-9BF8AE7F606D}">
      <dsp:nvSpPr>
        <dsp:cNvPr id="0" name=""/>
        <dsp:cNvSpPr/>
      </dsp:nvSpPr>
      <dsp:spPr>
        <a:xfrm>
          <a:off x="5139273" y="2350611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909602"/>
              <a:satOff val="-52455"/>
              <a:lumOff val="5392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355260" y="2393894"/>
        <a:ext cx="24345" cy="4873"/>
      </dsp:txXfrm>
    </dsp:sp>
    <dsp:sp modelId="{02DE9F4B-1FC0-4EC9-B65F-95F03D689073}">
      <dsp:nvSpPr>
        <dsp:cNvPr id="0" name=""/>
        <dsp:cNvSpPr/>
      </dsp:nvSpPr>
      <dsp:spPr>
        <a:xfrm>
          <a:off x="3024034" y="1761219"/>
          <a:ext cx="2117038" cy="1270223"/>
        </a:xfrm>
        <a:prstGeom prst="rect">
          <a:avLst/>
        </a:prstGeom>
        <a:solidFill>
          <a:schemeClr val="accent2">
            <a:hueOff val="-808535"/>
            <a:satOff val="-46627"/>
            <a:lumOff val="47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6 - Ru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*- While the user selects a particular vulnerability, then Generative AI should be able to understand the vulnerabilities &amp; Provide the fix suggestion</a:t>
          </a:r>
        </a:p>
      </dsp:txBody>
      <dsp:txXfrm>
        <a:off x="3024034" y="1761219"/>
        <a:ext cx="2117038" cy="1270223"/>
      </dsp:txXfrm>
    </dsp:sp>
    <dsp:sp modelId="{9B46973A-0E10-4EEB-991D-1AD3BDA63395}">
      <dsp:nvSpPr>
        <dsp:cNvPr id="0" name=""/>
        <dsp:cNvSpPr/>
      </dsp:nvSpPr>
      <dsp:spPr>
        <a:xfrm>
          <a:off x="7743231" y="2350611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1091522"/>
              <a:satOff val="-62946"/>
              <a:lumOff val="6471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7959217" y="2393894"/>
        <a:ext cx="24345" cy="4873"/>
      </dsp:txXfrm>
    </dsp:sp>
    <dsp:sp modelId="{3FBAE29C-562D-47B5-B483-19A0ED58EA3D}">
      <dsp:nvSpPr>
        <dsp:cNvPr id="0" name=""/>
        <dsp:cNvSpPr/>
      </dsp:nvSpPr>
      <dsp:spPr>
        <a:xfrm>
          <a:off x="5627992" y="1761219"/>
          <a:ext cx="2117038" cy="1270223"/>
        </a:xfrm>
        <a:prstGeom prst="rect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7 - Ru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*- If there is a small and direct fix then the plugin should be able to fix it. </a:t>
          </a:r>
        </a:p>
      </dsp:txBody>
      <dsp:txXfrm>
        <a:off x="5627992" y="1761219"/>
        <a:ext cx="2117038" cy="1270223"/>
      </dsp:txXfrm>
    </dsp:sp>
    <dsp:sp modelId="{47EF40FA-68F7-4D2C-90B2-CF33F716802F}">
      <dsp:nvSpPr>
        <dsp:cNvPr id="0" name=""/>
        <dsp:cNvSpPr/>
      </dsp:nvSpPr>
      <dsp:spPr>
        <a:xfrm>
          <a:off x="1478596" y="3029643"/>
          <a:ext cx="7811873" cy="456318"/>
        </a:xfrm>
        <a:custGeom>
          <a:avLst/>
          <a:gdLst/>
          <a:ahLst/>
          <a:cxnLst/>
          <a:rect l="0" t="0" r="0" b="0"/>
          <a:pathLst>
            <a:path>
              <a:moveTo>
                <a:pt x="7811873" y="0"/>
              </a:moveTo>
              <a:lnTo>
                <a:pt x="7811873" y="245259"/>
              </a:lnTo>
              <a:lnTo>
                <a:pt x="0" y="245259"/>
              </a:lnTo>
              <a:lnTo>
                <a:pt x="0" y="456318"/>
              </a:lnTo>
            </a:path>
          </a:pathLst>
        </a:custGeom>
        <a:noFill/>
        <a:ln w="6350" cap="flat" cmpd="sng" algn="ctr">
          <a:solidFill>
            <a:schemeClr val="accent2">
              <a:hueOff val="-1273443"/>
              <a:satOff val="-73437"/>
              <a:lumOff val="754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188857" y="3255365"/>
        <a:ext cx="391351" cy="4873"/>
      </dsp:txXfrm>
    </dsp:sp>
    <dsp:sp modelId="{FD3A85FD-728B-475D-A7D2-615E0D611FE2}">
      <dsp:nvSpPr>
        <dsp:cNvPr id="0" name=""/>
        <dsp:cNvSpPr/>
      </dsp:nvSpPr>
      <dsp:spPr>
        <a:xfrm>
          <a:off x="8231950" y="1761219"/>
          <a:ext cx="2117038" cy="1270223"/>
        </a:xfrm>
        <a:prstGeom prst="rect">
          <a:avLst/>
        </a:prstGeom>
        <a:solidFill>
          <a:schemeClr val="accent2">
            <a:hueOff val="-1131949"/>
            <a:satOff val="-65277"/>
            <a:lumOff val="67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8- Ru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*- If there is a complex then it provides multiple suggestions to fix it and then the developer has to fix it manually from suggestion.</a:t>
          </a:r>
        </a:p>
      </dsp:txBody>
      <dsp:txXfrm>
        <a:off x="8231950" y="1761219"/>
        <a:ext cx="2117038" cy="1270223"/>
      </dsp:txXfrm>
    </dsp:sp>
    <dsp:sp modelId="{739A738F-BA7F-4DE6-96B3-526A24CE5CDF}">
      <dsp:nvSpPr>
        <dsp:cNvPr id="0" name=""/>
        <dsp:cNvSpPr/>
      </dsp:nvSpPr>
      <dsp:spPr>
        <a:xfrm>
          <a:off x="2535315" y="4107753"/>
          <a:ext cx="4563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318" y="45720"/>
              </a:lnTo>
            </a:path>
          </a:pathLst>
        </a:custGeom>
        <a:noFill/>
        <a:ln w="635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1302" y="4151036"/>
        <a:ext cx="24345" cy="4873"/>
      </dsp:txXfrm>
    </dsp:sp>
    <dsp:sp modelId="{14030D19-7582-4CDD-A7E7-995EF9227A5D}">
      <dsp:nvSpPr>
        <dsp:cNvPr id="0" name=""/>
        <dsp:cNvSpPr/>
      </dsp:nvSpPr>
      <dsp:spPr>
        <a:xfrm>
          <a:off x="420077" y="3518362"/>
          <a:ext cx="2117038" cy="1270223"/>
        </a:xfrm>
        <a:prstGeom prst="rect">
          <a:avLst/>
        </a:prstGeom>
        <a:solidFill>
          <a:schemeClr val="accent2">
            <a:hueOff val="-1293656"/>
            <a:satOff val="-74603"/>
            <a:lumOff val="76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9 - Clear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Developers will rerun the </a:t>
          </a:r>
          <a:r>
            <a:rPr lang="en-US" sz="1200" kern="1200" dirty="0" err="1"/>
            <a:t>sonarqube</a:t>
          </a:r>
          <a:r>
            <a:rPr lang="en-US" sz="1200" kern="1200" dirty="0"/>
            <a:t> until it clears the vulnerabilities </a:t>
          </a:r>
        </a:p>
      </dsp:txBody>
      <dsp:txXfrm>
        <a:off x="420077" y="3518362"/>
        <a:ext cx="2117038" cy="1270223"/>
      </dsp:txXfrm>
    </dsp:sp>
    <dsp:sp modelId="{28145B29-EB9B-4430-A744-783E2B1BAF9C}">
      <dsp:nvSpPr>
        <dsp:cNvPr id="0" name=""/>
        <dsp:cNvSpPr/>
      </dsp:nvSpPr>
      <dsp:spPr>
        <a:xfrm>
          <a:off x="3024034" y="3518362"/>
          <a:ext cx="2117038" cy="1270223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3737" tIns="108890" rIns="103737" bIns="10889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sk 10- Clea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Since no automation is expected, this Point is out of scope now.</a:t>
          </a:r>
        </a:p>
      </dsp:txBody>
      <dsp:txXfrm>
        <a:off x="3024034" y="3518362"/>
        <a:ext cx="2117038" cy="12702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5FA95-A3C4-E9C9-3C9D-7CBB73D46E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5EBE12-C88A-98C3-B782-1C02066665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93A91-3664-773F-0681-31783E036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29E407-AE41-E21F-7893-DAC123E36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FA2A18-50AF-EFC8-62F0-4203BB382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46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0F51B8-09E1-AB4D-206F-70DC782E3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B8715D-1405-11F7-C62F-ED38F73A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6C719-03CE-ACD4-DA3D-C10F06C82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32467D-71C3-A722-E928-12AD874B4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F3DCEF-C599-E689-A8ED-903169713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527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F4396C-7805-23ED-CC24-EEF9EFC207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B42B6D-C89C-2CEF-69A6-54552700DD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55D03E-8349-A58F-D136-FE8ECDC4D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014375-747A-AD95-8254-09B086727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09DE7A-8086-4D32-B381-1D2A6BABE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149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7348" y="160527"/>
            <a:ext cx="11118573" cy="844589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4542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5B190-1525-03D1-8769-CC5BB0DAD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1F42A-621A-C366-6014-6EBB1C7359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852D21-DA26-C7B9-0001-A50CDCEAEA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F5EAB-7E46-1BEA-A231-56080E1D6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49CDFF-F00C-D056-BEEF-90F2CAF69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155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C8CD0-9D7A-9E50-1F9D-B635B02E0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802F86-36CC-3323-8E05-6503E9E49B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336B44-88EE-9657-39BC-F4D125240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6D1BF8-E69A-A0AF-5C0A-455AFDF3C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53434-E380-6A11-77E6-86CE00674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24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DD8C9-B219-5F17-5A52-5903D9D669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52B6ED-33FC-BC4E-9C83-B9381E1B3D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3A7233-EA3D-5DAB-4C05-0BAF50191A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8B01CB-3B53-8CE1-D3C6-C2543CD4D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BF92F2-7A39-E7E7-6731-A2CA7D517F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E4A50B-74E4-C74A-E119-6AB72502F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507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A1084-84A6-97CC-8DCA-9ED7A314D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052821-20EA-5E97-799F-51AC1A1853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B7BC8-456C-71BA-1BBE-4FAC88510E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58D84-0AC7-F563-95AA-5F71FC0B9A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E5F860-A8FE-4AC1-CD90-ED50EF61FE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EC60F2-FEBC-1BFC-EE1D-F1EA166EA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966257-9428-389A-862B-63CA8B9D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A07B02-683B-805C-D90F-E36E2303C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22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5F475-5BF1-534A-6B04-04FC35CFF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2BE0DA-3373-F182-611B-3AFA99FD4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254916-E09B-00AE-11B6-2C915A67D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5559E2-BD82-0288-5C09-4FD3C89C0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124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A1C17F-CE32-77B7-A84C-370F97852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240B6C-9904-99E0-CCEC-4CB0A89B9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E3C18A-70C1-FABF-34C3-FD5662C95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568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A3D35-920A-DCED-A027-025346943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86F16-31E3-58A6-C4F1-3A265E8A23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74016-4A10-BD46-FBE2-5B72437CE1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9622B9-B49D-45B8-1866-83F4493E7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858F19-7451-5381-8908-2528A6710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8D42E-D447-F7C3-9550-DBDD0547F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444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01878-8618-3737-FAE3-0532E63D5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E32B84F-D398-9D21-C916-B0513A5D158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F3058D-7BCA-5BD3-F0E5-33A7B05F33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68760D-3A01-3A40-7DE4-81E5E33F6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C07F2-DBBB-D593-3B36-097A0A25A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E618AB-F9CD-9C38-EDEB-42F90BFD9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06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644926-B965-1DAC-1345-A7313115B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FB4406-DFA3-5355-F892-0071CAC680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11AE8D-435A-2DE0-8F26-963C9825D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A10ACC-8825-4D5E-AD9F-F706D05E8E93}" type="datetimeFigureOut">
              <a:rPr lang="en-US" smtClean="0"/>
              <a:t>6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161A73-4F9C-35EF-188F-5B521E0B86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C775D7-7F38-59D0-BBB6-7203CAC15D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896DA8-6EA6-46DE-A29B-0FF3D21BE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863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667CF-CB73-14B7-BA08-339E86D126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90CDD3-2721-A772-B5B3-B4DBAB82A2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048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8C6890-E558-A098-0A0D-0A0F43065AC1}"/>
              </a:ext>
            </a:extLst>
          </p:cNvPr>
          <p:cNvSpPr/>
          <p:nvPr/>
        </p:nvSpPr>
        <p:spPr>
          <a:xfrm>
            <a:off x="315310" y="525517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OURCE CODE IN LOCAL MACHINE/IDE</a:t>
            </a:r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99DA179-A15A-EA56-B408-613C648ADF44}"/>
              </a:ext>
            </a:extLst>
          </p:cNvPr>
          <p:cNvSpPr/>
          <p:nvPr/>
        </p:nvSpPr>
        <p:spPr>
          <a:xfrm>
            <a:off x="4708633" y="525517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ONARQUBE</a:t>
            </a:r>
            <a:endParaRPr lang="en-US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7B8C7D6-F6E7-794B-6540-64C124860790}"/>
              </a:ext>
            </a:extLst>
          </p:cNvPr>
          <p:cNvCxnSpPr>
            <a:stCxn id="4" idx="3"/>
            <a:endCxn id="7" idx="1"/>
          </p:cNvCxnSpPr>
          <p:nvPr/>
        </p:nvCxnSpPr>
        <p:spPr>
          <a:xfrm>
            <a:off x="2585545" y="1098331"/>
            <a:ext cx="21230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DCC99EF-EB92-E3C9-7FC5-4973ABB77D20}"/>
              </a:ext>
            </a:extLst>
          </p:cNvPr>
          <p:cNvCxnSpPr>
            <a:stCxn id="7" idx="3"/>
          </p:cNvCxnSpPr>
          <p:nvPr/>
        </p:nvCxnSpPr>
        <p:spPr>
          <a:xfrm>
            <a:off x="6978868" y="1098331"/>
            <a:ext cx="12612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Single Corner Snipped 13">
            <a:extLst>
              <a:ext uri="{FF2B5EF4-FFF2-40B4-BE49-F238E27FC236}">
                <a16:creationId xmlns:a16="http://schemas.microsoft.com/office/drawing/2014/main" id="{3E874F84-F9CB-DDF9-07EF-7EBFD7443F8F}"/>
              </a:ext>
            </a:extLst>
          </p:cNvPr>
          <p:cNvSpPr/>
          <p:nvPr/>
        </p:nvSpPr>
        <p:spPr>
          <a:xfrm>
            <a:off x="8240110" y="652807"/>
            <a:ext cx="1177159" cy="1145623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ERROR REPORT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84B0177-4C9B-23E7-E3FB-4077E507B9E3}"/>
              </a:ext>
            </a:extLst>
          </p:cNvPr>
          <p:cNvCxnSpPr>
            <a:cxnSpLocks/>
            <a:stCxn id="14" idx="0"/>
            <a:endCxn id="2" idx="1"/>
          </p:cNvCxnSpPr>
          <p:nvPr/>
        </p:nvCxnSpPr>
        <p:spPr>
          <a:xfrm flipV="1">
            <a:off x="9417269" y="1225618"/>
            <a:ext cx="67266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F8BBCD2-C812-0E3B-9828-3B17306C6A97}"/>
              </a:ext>
            </a:extLst>
          </p:cNvPr>
          <p:cNvSpPr/>
          <p:nvPr/>
        </p:nvSpPr>
        <p:spPr>
          <a:xfrm>
            <a:off x="9884978" y="4866322"/>
            <a:ext cx="1849819" cy="11456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UGGESTIONS</a:t>
            </a:r>
            <a:endParaRPr 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7ECBD80-646A-E484-E3AF-1A564B0EBC29}"/>
              </a:ext>
            </a:extLst>
          </p:cNvPr>
          <p:cNvSpPr txBox="1"/>
          <p:nvPr/>
        </p:nvSpPr>
        <p:spPr>
          <a:xfrm>
            <a:off x="2790497" y="525196"/>
            <a:ext cx="1823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RUN SONARQUBE ON THE CODE</a:t>
            </a:r>
            <a:endParaRPr lang="en-US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13A4C9D-8784-16A0-B66D-6CE229EAEEFC}"/>
              </a:ext>
            </a:extLst>
          </p:cNvPr>
          <p:cNvSpPr txBox="1"/>
          <p:nvPr/>
        </p:nvSpPr>
        <p:spPr>
          <a:xfrm>
            <a:off x="6978868" y="786806"/>
            <a:ext cx="12612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GENERATES</a:t>
            </a:r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D52E50B-F97D-BDE5-8439-00BC4F95A746}"/>
              </a:ext>
            </a:extLst>
          </p:cNvPr>
          <p:cNvSpPr/>
          <p:nvPr/>
        </p:nvSpPr>
        <p:spPr>
          <a:xfrm>
            <a:off x="10089929" y="752653"/>
            <a:ext cx="146093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METADATA</a:t>
            </a:r>
          </a:p>
          <a:p>
            <a:pPr algn="ctr"/>
            <a:r>
              <a:rPr lang="en-IN" dirty="0"/>
              <a:t>(M,S,SV,C,T)</a:t>
            </a:r>
            <a:endParaRPr lang="en-US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6CA4286-F3E1-A714-2E28-68B52A295A5A}"/>
              </a:ext>
            </a:extLst>
          </p:cNvPr>
          <p:cNvSpPr/>
          <p:nvPr/>
        </p:nvSpPr>
        <p:spPr>
          <a:xfrm>
            <a:off x="10089929" y="2106746"/>
            <a:ext cx="146093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/>
              <a:t>DISPLAY THIS TO DEV TEAM IN TABULAR FORMAT</a:t>
            </a:r>
            <a:endParaRPr lang="en-US" sz="1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9F137B-D7FC-0727-659A-DFE81DA87139}"/>
              </a:ext>
            </a:extLst>
          </p:cNvPr>
          <p:cNvSpPr/>
          <p:nvPr/>
        </p:nvSpPr>
        <p:spPr>
          <a:xfrm>
            <a:off x="10229190" y="3460839"/>
            <a:ext cx="1177160" cy="9249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GEN AI</a:t>
            </a:r>
            <a:endParaRPr lang="en-US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528068B-FEBC-EFE7-C6B3-96C1208061C3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>
            <a:off x="10820398" y="1698583"/>
            <a:ext cx="0" cy="408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A50FF40-823F-E730-B3EC-59D62D83AC0B}"/>
              </a:ext>
            </a:extLst>
          </p:cNvPr>
          <p:cNvCxnSpPr>
            <a:cxnSpLocks/>
          </p:cNvCxnSpPr>
          <p:nvPr/>
        </p:nvCxnSpPr>
        <p:spPr>
          <a:xfrm>
            <a:off x="10809888" y="2988450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8955DA2-4814-B246-73E7-E92FB96CEA22}"/>
              </a:ext>
            </a:extLst>
          </p:cNvPr>
          <p:cNvCxnSpPr>
            <a:cxnSpLocks/>
          </p:cNvCxnSpPr>
          <p:nvPr/>
        </p:nvCxnSpPr>
        <p:spPr>
          <a:xfrm>
            <a:off x="10815143" y="4393933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113370D-980F-7FDC-3E71-D8AE330A59EA}"/>
              </a:ext>
            </a:extLst>
          </p:cNvPr>
          <p:cNvCxnSpPr>
            <a:stCxn id="18" idx="1"/>
            <a:endCxn id="4" idx="2"/>
          </p:cNvCxnSpPr>
          <p:nvPr/>
        </p:nvCxnSpPr>
        <p:spPr>
          <a:xfrm rot="10800000">
            <a:off x="1450428" y="1671146"/>
            <a:ext cx="8434550" cy="376798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971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0">
            <a:extLst>
              <a:ext uri="{FF2B5EF4-FFF2-40B4-BE49-F238E27FC236}">
                <a16:creationId xmlns:a16="http://schemas.microsoft.com/office/drawing/2014/main" id="{1ACA4030-698B-334F-59D1-F68D4D16610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DF9DFB-79B2-8AE7-8F5E-7205F19C3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400" cap="all">
                <a:solidFill>
                  <a:schemeClr val="tx1"/>
                </a:solidFill>
              </a:rPr>
              <a:t>Plug-In Story poi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0A01BF-9D18-6D33-C22F-9F332E23F9D4}"/>
              </a:ext>
            </a:extLst>
          </p:cNvPr>
          <p:cNvSpPr txBox="1"/>
          <p:nvPr/>
        </p:nvSpPr>
        <p:spPr>
          <a:xfrm>
            <a:off x="584734" y="6310471"/>
            <a:ext cx="10931092" cy="5475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fontAlgn="base">
              <a:lnSpc>
                <a:spcPct val="90000"/>
              </a:lnSpc>
              <a:spcBef>
                <a:spcPts val="267"/>
              </a:spcBef>
              <a:spcAft>
                <a:spcPts val="200"/>
              </a:spcAft>
              <a:buClr>
                <a:schemeClr val="accent1"/>
              </a:buClr>
              <a:buSzPct val="110000"/>
              <a:defRPr/>
            </a:pPr>
            <a:r>
              <a:rPr lang="en-US" sz="2400" dirty="0"/>
              <a:t>New Generative AI </a:t>
            </a:r>
            <a:r>
              <a:rPr lang="en-US" sz="2400" dirty="0" err="1"/>
              <a:t>PlugIn</a:t>
            </a:r>
            <a:r>
              <a:rPr lang="en-US" sz="2400" dirty="0"/>
              <a:t> require to perform from Task 4 to Task 8</a:t>
            </a:r>
            <a:endParaRPr lang="en-US" sz="2400" dirty="0">
              <a:effectLst/>
            </a:endParaRPr>
          </a:p>
        </p:txBody>
      </p:sp>
      <p:grpSp>
        <p:nvGrpSpPr>
          <p:cNvPr id="7" name="Groupe 1">
            <a:extLst>
              <a:ext uri="{FF2B5EF4-FFF2-40B4-BE49-F238E27FC236}">
                <a16:creationId xmlns:a16="http://schemas.microsoft.com/office/drawing/2014/main" id="{8528EF7D-0096-85AE-F298-F644BCCE0620}"/>
              </a:ext>
            </a:extLst>
          </p:cNvPr>
          <p:cNvGrpSpPr>
            <a:grpSpLocks noChangeAspect="1"/>
          </p:cNvGrpSpPr>
          <p:nvPr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CE0A9F5B-D487-5CE4-367C-8266B6C280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E6236AAB-0AD6-9E20-1ABB-B823ECDED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8" name="TextBox 5">
            <a:extLst>
              <a:ext uri="{FF2B5EF4-FFF2-40B4-BE49-F238E27FC236}">
                <a16:creationId xmlns:a16="http://schemas.microsoft.com/office/drawing/2014/main" id="{B3093C23-ED3F-A4A2-D5F7-04E437D63F53}"/>
              </a:ext>
            </a:extLst>
          </p:cNvPr>
          <p:cNvGraphicFramePr/>
          <p:nvPr/>
        </p:nvGraphicFramePr>
        <p:xfrm>
          <a:off x="584734" y="1384300"/>
          <a:ext cx="10769066" cy="4792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46741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8C6890-E558-A098-0A0D-0A0F43065AC1}"/>
              </a:ext>
            </a:extLst>
          </p:cNvPr>
          <p:cNvSpPr/>
          <p:nvPr/>
        </p:nvSpPr>
        <p:spPr>
          <a:xfrm>
            <a:off x="1376854" y="1282262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ECURITY VULNERABLE DATASET</a:t>
            </a:r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99DA179-A15A-EA56-B408-613C648ADF44}"/>
              </a:ext>
            </a:extLst>
          </p:cNvPr>
          <p:cNvSpPr/>
          <p:nvPr/>
        </p:nvSpPr>
        <p:spPr>
          <a:xfrm>
            <a:off x="5770177" y="1282262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ONARQUB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C2A491-F50C-C5D4-4B01-FA8A1A1365BA}"/>
              </a:ext>
            </a:extLst>
          </p:cNvPr>
          <p:cNvSpPr/>
          <p:nvPr/>
        </p:nvSpPr>
        <p:spPr>
          <a:xfrm>
            <a:off x="9301654" y="3915104"/>
            <a:ext cx="1177160" cy="9249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GEN AI</a:t>
            </a:r>
            <a:endParaRPr lang="en-US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7B8C7D6-F6E7-794B-6540-64C124860790}"/>
              </a:ext>
            </a:extLst>
          </p:cNvPr>
          <p:cNvCxnSpPr>
            <a:stCxn id="4" idx="3"/>
            <a:endCxn id="7" idx="1"/>
          </p:cNvCxnSpPr>
          <p:nvPr/>
        </p:nvCxnSpPr>
        <p:spPr>
          <a:xfrm>
            <a:off x="3647089" y="1855076"/>
            <a:ext cx="21230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DCC99EF-EB92-E3C9-7FC5-4973ABB77D20}"/>
              </a:ext>
            </a:extLst>
          </p:cNvPr>
          <p:cNvCxnSpPr>
            <a:stCxn id="7" idx="3"/>
          </p:cNvCxnSpPr>
          <p:nvPr/>
        </p:nvCxnSpPr>
        <p:spPr>
          <a:xfrm>
            <a:off x="8040412" y="1855076"/>
            <a:ext cx="12612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Single Corner Snipped 13">
            <a:extLst>
              <a:ext uri="{FF2B5EF4-FFF2-40B4-BE49-F238E27FC236}">
                <a16:creationId xmlns:a16="http://schemas.microsoft.com/office/drawing/2014/main" id="{3E874F84-F9CB-DDF9-07EF-7EBFD7443F8F}"/>
              </a:ext>
            </a:extLst>
          </p:cNvPr>
          <p:cNvSpPr/>
          <p:nvPr/>
        </p:nvSpPr>
        <p:spPr>
          <a:xfrm>
            <a:off x="9301654" y="1409552"/>
            <a:ext cx="1177159" cy="1145623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ERROR REPORT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84B0177-4C9B-23E7-E3FB-4077E507B9E3}"/>
              </a:ext>
            </a:extLst>
          </p:cNvPr>
          <p:cNvCxnSpPr>
            <a:cxnSpLocks/>
            <a:stCxn id="14" idx="1"/>
            <a:endCxn id="8" idx="0"/>
          </p:cNvCxnSpPr>
          <p:nvPr/>
        </p:nvCxnSpPr>
        <p:spPr>
          <a:xfrm>
            <a:off x="9890234" y="2555175"/>
            <a:ext cx="0" cy="13599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F8BBCD2-C812-0E3B-9828-3B17306C6A97}"/>
              </a:ext>
            </a:extLst>
          </p:cNvPr>
          <p:cNvSpPr/>
          <p:nvPr/>
        </p:nvSpPr>
        <p:spPr>
          <a:xfrm>
            <a:off x="9301654" y="5594130"/>
            <a:ext cx="1849819" cy="11456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UGGESTIONS</a:t>
            </a:r>
            <a:endParaRPr lang="en-US" dirty="0"/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82B836F1-3C6F-DF76-E767-1C3A00D0D0DA}"/>
              </a:ext>
            </a:extLst>
          </p:cNvPr>
          <p:cNvCxnSpPr>
            <a:cxnSpLocks/>
            <a:stCxn id="18" idx="1"/>
            <a:endCxn id="7" idx="2"/>
          </p:cNvCxnSpPr>
          <p:nvPr/>
        </p:nvCxnSpPr>
        <p:spPr>
          <a:xfrm rot="10800000">
            <a:off x="6905296" y="2427890"/>
            <a:ext cx="2396359" cy="373905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iamond 22">
            <a:extLst>
              <a:ext uri="{FF2B5EF4-FFF2-40B4-BE49-F238E27FC236}">
                <a16:creationId xmlns:a16="http://schemas.microsoft.com/office/drawing/2014/main" id="{2019AF6B-865B-83A2-3C40-C7106D3B4A0F}"/>
              </a:ext>
            </a:extLst>
          </p:cNvPr>
          <p:cNvSpPr/>
          <p:nvPr/>
        </p:nvSpPr>
        <p:spPr>
          <a:xfrm>
            <a:off x="3828394" y="3302876"/>
            <a:ext cx="2701157" cy="846082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ACCEPTED?</a:t>
            </a:r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683F1DD-E571-B802-5A9B-E481569F931F}"/>
              </a:ext>
            </a:extLst>
          </p:cNvPr>
          <p:cNvSpPr/>
          <p:nvPr/>
        </p:nvSpPr>
        <p:spPr>
          <a:xfrm>
            <a:off x="1292772" y="3153103"/>
            <a:ext cx="1694795" cy="11456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USE CASE DONE</a:t>
            </a:r>
            <a:endParaRPr lang="en-US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5FC49A0-0C63-29FA-602B-223D36F5A271}"/>
              </a:ext>
            </a:extLst>
          </p:cNvPr>
          <p:cNvCxnSpPr>
            <a:stCxn id="23" idx="1"/>
            <a:endCxn id="24" idx="3"/>
          </p:cNvCxnSpPr>
          <p:nvPr/>
        </p:nvCxnSpPr>
        <p:spPr>
          <a:xfrm flipH="1">
            <a:off x="2987567" y="3725917"/>
            <a:ext cx="8408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C9155556-EB4A-B8E5-D4D1-31A20CCDEA43}"/>
              </a:ext>
            </a:extLst>
          </p:cNvPr>
          <p:cNvCxnSpPr>
            <a:cxnSpLocks/>
          </p:cNvCxnSpPr>
          <p:nvPr/>
        </p:nvCxnSpPr>
        <p:spPr>
          <a:xfrm rot="10800000" flipV="1">
            <a:off x="5173718" y="2010104"/>
            <a:ext cx="591205" cy="129802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C1A7A015-9640-1288-0F3D-8C69C629556D}"/>
              </a:ext>
            </a:extLst>
          </p:cNvPr>
          <p:cNvCxnSpPr>
            <a:cxnSpLocks/>
            <a:stCxn id="23" idx="2"/>
            <a:endCxn id="8" idx="1"/>
          </p:cNvCxnSpPr>
          <p:nvPr/>
        </p:nvCxnSpPr>
        <p:spPr>
          <a:xfrm rot="16200000" flipH="1">
            <a:off x="7126013" y="2201917"/>
            <a:ext cx="228601" cy="412268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F76C3D1-8DEC-AC90-6FCE-E449D38C7F9C}"/>
              </a:ext>
            </a:extLst>
          </p:cNvPr>
          <p:cNvSpPr txBox="1"/>
          <p:nvPr/>
        </p:nvSpPr>
        <p:spPr>
          <a:xfrm>
            <a:off x="3234561" y="3404617"/>
            <a:ext cx="625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YES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C605B3A-2896-11FD-68B2-E0C7347C94C4}"/>
              </a:ext>
            </a:extLst>
          </p:cNvPr>
          <p:cNvSpPr txBox="1"/>
          <p:nvPr/>
        </p:nvSpPr>
        <p:spPr>
          <a:xfrm>
            <a:off x="6180081" y="4078592"/>
            <a:ext cx="625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NO</a:t>
            </a:r>
            <a:endParaRPr lang="en-US" dirty="0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0332BC4-F90D-09A1-3390-E4395F41DCD6}"/>
              </a:ext>
            </a:extLst>
          </p:cNvPr>
          <p:cNvCxnSpPr>
            <a:stCxn id="8" idx="2"/>
          </p:cNvCxnSpPr>
          <p:nvPr/>
        </p:nvCxnSpPr>
        <p:spPr>
          <a:xfrm>
            <a:off x="9890234" y="4840014"/>
            <a:ext cx="0" cy="7620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7ECBD80-646A-E484-E3AF-1A564B0EBC29}"/>
              </a:ext>
            </a:extLst>
          </p:cNvPr>
          <p:cNvSpPr txBox="1"/>
          <p:nvPr/>
        </p:nvSpPr>
        <p:spPr>
          <a:xfrm>
            <a:off x="4367047" y="1485744"/>
            <a:ext cx="688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FEED</a:t>
            </a:r>
            <a:endParaRPr 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80C409-3C36-1CA7-8FE3-AA390D639530}"/>
              </a:ext>
            </a:extLst>
          </p:cNvPr>
          <p:cNvSpPr txBox="1"/>
          <p:nvPr/>
        </p:nvSpPr>
        <p:spPr>
          <a:xfrm>
            <a:off x="4367047" y="1485745"/>
            <a:ext cx="688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FEED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13A4C9D-8784-16A0-B66D-6CE229EAEEFC}"/>
              </a:ext>
            </a:extLst>
          </p:cNvPr>
          <p:cNvSpPr txBox="1"/>
          <p:nvPr/>
        </p:nvSpPr>
        <p:spPr>
          <a:xfrm>
            <a:off x="8326819" y="1543551"/>
            <a:ext cx="79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G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567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8C6890-E558-A098-0A0D-0A0F43065AC1}"/>
              </a:ext>
            </a:extLst>
          </p:cNvPr>
          <p:cNvSpPr/>
          <p:nvPr/>
        </p:nvSpPr>
        <p:spPr>
          <a:xfrm>
            <a:off x="315310" y="525517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ROGRAM CODE IN IDE</a:t>
            </a:r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99DA179-A15A-EA56-B408-613C648ADF44}"/>
              </a:ext>
            </a:extLst>
          </p:cNvPr>
          <p:cNvSpPr/>
          <p:nvPr/>
        </p:nvSpPr>
        <p:spPr>
          <a:xfrm>
            <a:off x="4708633" y="525517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ONARQUBE</a:t>
            </a:r>
            <a:endParaRPr lang="en-US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7B8C7D6-F6E7-794B-6540-64C124860790}"/>
              </a:ext>
            </a:extLst>
          </p:cNvPr>
          <p:cNvCxnSpPr>
            <a:stCxn id="4" idx="3"/>
            <a:endCxn id="7" idx="1"/>
          </p:cNvCxnSpPr>
          <p:nvPr/>
        </p:nvCxnSpPr>
        <p:spPr>
          <a:xfrm>
            <a:off x="2585545" y="1098331"/>
            <a:ext cx="21230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DCC99EF-EB92-E3C9-7FC5-4973ABB77D20}"/>
              </a:ext>
            </a:extLst>
          </p:cNvPr>
          <p:cNvCxnSpPr>
            <a:stCxn id="7" idx="3"/>
          </p:cNvCxnSpPr>
          <p:nvPr/>
        </p:nvCxnSpPr>
        <p:spPr>
          <a:xfrm>
            <a:off x="6978868" y="1098331"/>
            <a:ext cx="12612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Single Corner Snipped 13">
            <a:extLst>
              <a:ext uri="{FF2B5EF4-FFF2-40B4-BE49-F238E27FC236}">
                <a16:creationId xmlns:a16="http://schemas.microsoft.com/office/drawing/2014/main" id="{3E874F84-F9CB-DDF9-07EF-7EBFD7443F8F}"/>
              </a:ext>
            </a:extLst>
          </p:cNvPr>
          <p:cNvSpPr/>
          <p:nvPr/>
        </p:nvSpPr>
        <p:spPr>
          <a:xfrm>
            <a:off x="8240110" y="652807"/>
            <a:ext cx="1177159" cy="1145623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ERROR REPORT</a:t>
            </a:r>
            <a:endParaRPr lang="en-US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84B0177-4C9B-23E7-E3FB-4077E507B9E3}"/>
              </a:ext>
            </a:extLst>
          </p:cNvPr>
          <p:cNvCxnSpPr>
            <a:cxnSpLocks/>
            <a:stCxn id="14" idx="0"/>
            <a:endCxn id="2" idx="1"/>
          </p:cNvCxnSpPr>
          <p:nvPr/>
        </p:nvCxnSpPr>
        <p:spPr>
          <a:xfrm flipV="1">
            <a:off x="9417269" y="1225618"/>
            <a:ext cx="67266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3F8BBCD2-C812-0E3B-9828-3B17306C6A97}"/>
              </a:ext>
            </a:extLst>
          </p:cNvPr>
          <p:cNvSpPr/>
          <p:nvPr/>
        </p:nvSpPr>
        <p:spPr>
          <a:xfrm>
            <a:off x="9884978" y="4866322"/>
            <a:ext cx="1849819" cy="11456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UGGESTIONS</a:t>
            </a:r>
            <a:endParaRPr 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7ECBD80-646A-E484-E3AF-1A564B0EBC29}"/>
              </a:ext>
            </a:extLst>
          </p:cNvPr>
          <p:cNvSpPr txBox="1"/>
          <p:nvPr/>
        </p:nvSpPr>
        <p:spPr>
          <a:xfrm>
            <a:off x="3305503" y="728999"/>
            <a:ext cx="688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FEED</a:t>
            </a:r>
            <a:endParaRPr 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680C409-3C36-1CA7-8FE3-AA390D639530}"/>
              </a:ext>
            </a:extLst>
          </p:cNvPr>
          <p:cNvSpPr txBox="1"/>
          <p:nvPr/>
        </p:nvSpPr>
        <p:spPr>
          <a:xfrm>
            <a:off x="3305503" y="729000"/>
            <a:ext cx="688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FEED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13A4C9D-8784-16A0-B66D-6CE229EAEEFC}"/>
              </a:ext>
            </a:extLst>
          </p:cNvPr>
          <p:cNvSpPr txBox="1"/>
          <p:nvPr/>
        </p:nvSpPr>
        <p:spPr>
          <a:xfrm>
            <a:off x="7265275" y="786806"/>
            <a:ext cx="796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GIVES</a:t>
            </a:r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D52E50B-F97D-BDE5-8439-00BC4F95A746}"/>
              </a:ext>
            </a:extLst>
          </p:cNvPr>
          <p:cNvSpPr/>
          <p:nvPr/>
        </p:nvSpPr>
        <p:spPr>
          <a:xfrm>
            <a:off x="10089929" y="752653"/>
            <a:ext cx="146093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METADATA</a:t>
            </a:r>
          </a:p>
          <a:p>
            <a:pPr algn="ctr"/>
            <a:r>
              <a:rPr lang="en-IN" dirty="0"/>
              <a:t>(M,S,SV,C,T)</a:t>
            </a:r>
            <a:endParaRPr lang="en-US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6CA4286-F3E1-A714-2E28-68B52A295A5A}"/>
              </a:ext>
            </a:extLst>
          </p:cNvPr>
          <p:cNvSpPr/>
          <p:nvPr/>
        </p:nvSpPr>
        <p:spPr>
          <a:xfrm>
            <a:off x="10089929" y="2106746"/>
            <a:ext cx="146093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/>
              <a:t>DISPLAY THIS TO DEV TEAM IN TABULAR FORMAT</a:t>
            </a:r>
            <a:endParaRPr lang="en-US" sz="1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9F137B-D7FC-0727-659A-DFE81DA87139}"/>
              </a:ext>
            </a:extLst>
          </p:cNvPr>
          <p:cNvSpPr/>
          <p:nvPr/>
        </p:nvSpPr>
        <p:spPr>
          <a:xfrm>
            <a:off x="10229190" y="3460839"/>
            <a:ext cx="1177160" cy="9249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GEN AI</a:t>
            </a:r>
            <a:endParaRPr lang="en-US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528068B-FEBC-EFE7-C6B3-96C1208061C3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>
            <a:off x="10820398" y="1698583"/>
            <a:ext cx="0" cy="4081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A50FF40-823F-E730-B3EC-59D62D83AC0B}"/>
              </a:ext>
            </a:extLst>
          </p:cNvPr>
          <p:cNvCxnSpPr>
            <a:cxnSpLocks/>
          </p:cNvCxnSpPr>
          <p:nvPr/>
        </p:nvCxnSpPr>
        <p:spPr>
          <a:xfrm>
            <a:off x="10809888" y="2988450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8955DA2-4814-B246-73E7-E92FB96CEA22}"/>
              </a:ext>
            </a:extLst>
          </p:cNvPr>
          <p:cNvCxnSpPr>
            <a:cxnSpLocks/>
          </p:cNvCxnSpPr>
          <p:nvPr/>
        </p:nvCxnSpPr>
        <p:spPr>
          <a:xfrm>
            <a:off x="10815143" y="4393933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113370D-980F-7FDC-3E71-D8AE330A59EA}"/>
              </a:ext>
            </a:extLst>
          </p:cNvPr>
          <p:cNvCxnSpPr>
            <a:stCxn id="18" idx="1"/>
            <a:endCxn id="4" idx="2"/>
          </p:cNvCxnSpPr>
          <p:nvPr/>
        </p:nvCxnSpPr>
        <p:spPr>
          <a:xfrm rot="10800000">
            <a:off x="1450428" y="1671146"/>
            <a:ext cx="8434550" cy="376798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8030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8C6890-E558-A098-0A0D-0A0F43065AC1}"/>
              </a:ext>
            </a:extLst>
          </p:cNvPr>
          <p:cNvSpPr/>
          <p:nvPr/>
        </p:nvSpPr>
        <p:spPr>
          <a:xfrm>
            <a:off x="315310" y="525517"/>
            <a:ext cx="2270235" cy="11456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ROGRAM CODE IN IDE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F8BBCD2-C812-0E3B-9828-3B17306C6A97}"/>
              </a:ext>
            </a:extLst>
          </p:cNvPr>
          <p:cNvSpPr/>
          <p:nvPr/>
        </p:nvSpPr>
        <p:spPr>
          <a:xfrm>
            <a:off x="9884978" y="4866322"/>
            <a:ext cx="1849819" cy="11456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UGGESTIONS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9F137B-D7FC-0727-659A-DFE81DA87139}"/>
              </a:ext>
            </a:extLst>
          </p:cNvPr>
          <p:cNvSpPr/>
          <p:nvPr/>
        </p:nvSpPr>
        <p:spPr>
          <a:xfrm>
            <a:off x="10229190" y="3401870"/>
            <a:ext cx="1177160" cy="9249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GEN AI</a:t>
            </a:r>
            <a:endParaRPr lang="en-US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8955DA2-4814-B246-73E7-E92FB96CEA22}"/>
              </a:ext>
            </a:extLst>
          </p:cNvPr>
          <p:cNvCxnSpPr>
            <a:cxnSpLocks/>
          </p:cNvCxnSpPr>
          <p:nvPr/>
        </p:nvCxnSpPr>
        <p:spPr>
          <a:xfrm>
            <a:off x="10815143" y="4393933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113370D-980F-7FDC-3E71-D8AE330A59EA}"/>
              </a:ext>
            </a:extLst>
          </p:cNvPr>
          <p:cNvCxnSpPr>
            <a:stCxn id="18" idx="1"/>
            <a:endCxn id="4" idx="2"/>
          </p:cNvCxnSpPr>
          <p:nvPr/>
        </p:nvCxnSpPr>
        <p:spPr>
          <a:xfrm rot="10800000">
            <a:off x="1450428" y="1671146"/>
            <a:ext cx="8434550" cy="376798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Single Corner Snipped 5">
            <a:extLst>
              <a:ext uri="{FF2B5EF4-FFF2-40B4-BE49-F238E27FC236}">
                <a16:creationId xmlns:a16="http://schemas.microsoft.com/office/drawing/2014/main" id="{70BD8DFC-5FF9-67BA-D379-688FF5DE8D3E}"/>
              </a:ext>
            </a:extLst>
          </p:cNvPr>
          <p:cNvSpPr/>
          <p:nvPr/>
        </p:nvSpPr>
        <p:spPr>
          <a:xfrm>
            <a:off x="8240110" y="525522"/>
            <a:ext cx="1177159" cy="1145623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ERROR REPORT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0D5F0FB-15AD-DC25-6C43-2C3FDFF67151}"/>
              </a:ext>
            </a:extLst>
          </p:cNvPr>
          <p:cNvSpPr/>
          <p:nvPr/>
        </p:nvSpPr>
        <p:spPr>
          <a:xfrm>
            <a:off x="10089929" y="625366"/>
            <a:ext cx="146093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METADATA</a:t>
            </a:r>
          </a:p>
          <a:p>
            <a:pPr algn="ctr"/>
            <a:r>
              <a:rPr lang="en-IN" dirty="0"/>
              <a:t>(M,S,SV,C,T)</a:t>
            </a:r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C5545D6-D74C-D848-081A-1B81871FDBE9}"/>
              </a:ext>
            </a:extLst>
          </p:cNvPr>
          <p:cNvSpPr/>
          <p:nvPr/>
        </p:nvSpPr>
        <p:spPr>
          <a:xfrm>
            <a:off x="9701048" y="2002829"/>
            <a:ext cx="2201918" cy="9459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/>
              <a:t>DISPLAY THIS TO DEV TEAM IN TABULAR FORMAT</a:t>
            </a:r>
            <a:endParaRPr lang="en-US" sz="1600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7F1A715-CAC2-1102-D199-A2EC6F6FF219}"/>
              </a:ext>
            </a:extLst>
          </p:cNvPr>
          <p:cNvCxnSpPr>
            <a:stCxn id="4" idx="3"/>
            <a:endCxn id="6" idx="2"/>
          </p:cNvCxnSpPr>
          <p:nvPr/>
        </p:nvCxnSpPr>
        <p:spPr>
          <a:xfrm>
            <a:off x="2585545" y="1098331"/>
            <a:ext cx="5654565" cy="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9D0334C-AF6C-F6DC-0CFC-D5C0C2F4DA78}"/>
              </a:ext>
            </a:extLst>
          </p:cNvPr>
          <p:cNvCxnSpPr>
            <a:stCxn id="6" idx="0"/>
          </p:cNvCxnSpPr>
          <p:nvPr/>
        </p:nvCxnSpPr>
        <p:spPr>
          <a:xfrm flipV="1">
            <a:off x="9417269" y="1098331"/>
            <a:ext cx="672660" cy="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F7C6903-B69D-006F-8DCE-458D72927553}"/>
              </a:ext>
            </a:extLst>
          </p:cNvPr>
          <p:cNvCxnSpPr>
            <a:cxnSpLocks/>
          </p:cNvCxnSpPr>
          <p:nvPr/>
        </p:nvCxnSpPr>
        <p:spPr>
          <a:xfrm>
            <a:off x="10783613" y="1539183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C80481-CE06-D214-32F1-D111EED6D3D5}"/>
              </a:ext>
            </a:extLst>
          </p:cNvPr>
          <p:cNvCxnSpPr>
            <a:cxnSpLocks/>
          </p:cNvCxnSpPr>
          <p:nvPr/>
        </p:nvCxnSpPr>
        <p:spPr>
          <a:xfrm>
            <a:off x="10778358" y="2919547"/>
            <a:ext cx="5255" cy="472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8089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347</Words>
  <Application>Microsoft Office PowerPoint</Application>
  <PresentationFormat>Widescreen</PresentationFormat>
  <Paragraphs>62</Paragraphs>
  <Slides>6</Slides>
  <Notes>0</Notes>
  <HiddenSlides>2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lug-In Story points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tish, Nitin</dc:creator>
  <cp:lastModifiedBy>Satish, Nitin</cp:lastModifiedBy>
  <cp:revision>1</cp:revision>
  <dcterms:created xsi:type="dcterms:W3CDTF">2023-06-09T06:45:35Z</dcterms:created>
  <dcterms:modified xsi:type="dcterms:W3CDTF">2023-06-09T07:02:21Z</dcterms:modified>
</cp:coreProperties>
</file>